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4"/>
  </p:sldMasterIdLst>
  <p:notesMasterIdLst>
    <p:notesMasterId r:id="rId9"/>
  </p:notesMasterIdLst>
  <p:handoutMasterIdLst>
    <p:handoutMasterId r:id="rId10"/>
  </p:handoutMasterIdLst>
  <p:sldIdLst>
    <p:sldId id="283" r:id="rId5"/>
    <p:sldId id="2528" r:id="rId6"/>
    <p:sldId id="2527" r:id="rId7"/>
    <p:sldId id="2522" r:id="rId8"/>
  </p:sldIdLst>
  <p:sldSz cx="9144000" cy="5143500" type="screen16x9"/>
  <p:notesSz cx="6858000" cy="9144000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868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Mccormack" initials="CM" lastIdx="13" clrIdx="0">
    <p:extLst>
      <p:ext uri="{19B8F6BF-5375-455C-9EA6-DF929625EA0E}">
        <p15:presenceInfo xmlns:p15="http://schemas.microsoft.com/office/powerpoint/2012/main" userId="S::mccormack.chris@ch.sika.com::5cce2538-88f1-496b-a322-dec88ead757d" providerId="AD"/>
      </p:ext>
    </p:extLst>
  </p:cmAuthor>
  <p:cmAuthor id="2" name="Pascal Hodler" initials="PH" lastIdx="10" clrIdx="1">
    <p:extLst>
      <p:ext uri="{19B8F6BF-5375-455C-9EA6-DF929625EA0E}">
        <p15:presenceInfo xmlns:p15="http://schemas.microsoft.com/office/powerpoint/2012/main" userId="S::hodler.pascal@ch.sika.com::223ce648-bd98-49ab-b2b3-a1a85b66f6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1E9"/>
    <a:srgbClr val="6E95B2"/>
    <a:srgbClr val="7C7C7C"/>
    <a:srgbClr val="F2F2F2"/>
    <a:srgbClr val="F5B11F"/>
    <a:srgbClr val="4B4B4B"/>
    <a:srgbClr val="BFBFBF"/>
    <a:srgbClr val="50758D"/>
    <a:srgbClr val="F5B32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4660"/>
  </p:normalViewPr>
  <p:slideViewPr>
    <p:cSldViewPr snapToGrid="0">
      <p:cViewPr varScale="1">
        <p:scale>
          <a:sx n="141" d="100"/>
          <a:sy n="141" d="100"/>
        </p:scale>
        <p:origin x="264" y="120"/>
      </p:cViewPr>
      <p:guideLst>
        <p:guide orient="horz" pos="645"/>
        <p:guide pos="192"/>
        <p:guide orient="horz" pos="2868"/>
        <p:guide orient="horz" pos="3108"/>
        <p:guide pos="55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io Pena" userId="e8c94f7e-bc6e-4c95-ac94-d3ff72f76780" providerId="ADAL" clId="{B0B0C007-45D6-4959-BAA4-F8CFD9D4A287}"/>
    <pc:docChg chg="undo redo custSel addSld delSld modSld sldOrd modMainMaster">
      <pc:chgData name="Mauricio Pena" userId="e8c94f7e-bc6e-4c95-ac94-d3ff72f76780" providerId="ADAL" clId="{B0B0C007-45D6-4959-BAA4-F8CFD9D4A287}" dt="2023-04-14T10:40:16.656" v="1346" actId="478"/>
      <pc:docMkLst>
        <pc:docMk/>
      </pc:docMkLst>
      <pc:sldChg chg="addSp delSp mod">
        <pc:chgData name="Mauricio Pena" userId="e8c94f7e-bc6e-4c95-ac94-d3ff72f76780" providerId="ADAL" clId="{B0B0C007-45D6-4959-BAA4-F8CFD9D4A287}" dt="2023-03-27T07:00:34.550" v="2" actId="478"/>
        <pc:sldMkLst>
          <pc:docMk/>
          <pc:sldMk cId="0" sldId="283"/>
        </pc:sldMkLst>
        <pc:spChg chg="del">
          <ac:chgData name="Mauricio Pena" userId="e8c94f7e-bc6e-4c95-ac94-d3ff72f76780" providerId="ADAL" clId="{B0B0C007-45D6-4959-BAA4-F8CFD9D4A287}" dt="2023-03-27T07:00:31.110" v="0" actId="478"/>
          <ac:spMkLst>
            <pc:docMk/>
            <pc:sldMk cId="0" sldId="283"/>
            <ac:spMk id="9" creationId="{7D9D145E-B543-77B7-AACB-76D3B5B77392}"/>
          </ac:spMkLst>
        </pc:spChg>
        <pc:picChg chg="add del">
          <ac:chgData name="Mauricio Pena" userId="e8c94f7e-bc6e-4c95-ac94-d3ff72f76780" providerId="ADAL" clId="{B0B0C007-45D6-4959-BAA4-F8CFD9D4A287}" dt="2023-03-27T07:00:34.550" v="2" actId="478"/>
          <ac:picMkLst>
            <pc:docMk/>
            <pc:sldMk cId="0" sldId="283"/>
            <ac:picMk id="6" creationId="{A5CC6D39-1ECB-F645-1AFE-2F0C03041A97}"/>
          </ac:picMkLst>
        </pc:picChg>
      </pc:sldChg>
      <pc:sldChg chg="addSp delSp modSp mod">
        <pc:chgData name="Mauricio Pena" userId="e8c94f7e-bc6e-4c95-ac94-d3ff72f76780" providerId="ADAL" clId="{B0B0C007-45D6-4959-BAA4-F8CFD9D4A287}" dt="2023-04-14T10:26:00.506" v="1295" actId="108"/>
        <pc:sldMkLst>
          <pc:docMk/>
          <pc:sldMk cId="2681821491" sldId="2449"/>
        </pc:sldMkLst>
        <pc:spChg chg="add mod">
          <ac:chgData name="Mauricio Pena" userId="e8c94f7e-bc6e-4c95-ac94-d3ff72f76780" providerId="ADAL" clId="{B0B0C007-45D6-4959-BAA4-F8CFD9D4A287}" dt="2023-03-27T08:13:32.348" v="655" actId="1076"/>
          <ac:spMkLst>
            <pc:docMk/>
            <pc:sldMk cId="2681821491" sldId="2449"/>
            <ac:spMk id="2" creationId="{03533167-ABEF-E4A3-FBF3-5058418F8E03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4" creationId="{B7DA9801-0835-4143-95FD-E14093FEC971}"/>
          </ac:spMkLst>
        </pc:spChg>
        <pc:spChg chg="add del">
          <ac:chgData name="Mauricio Pena" userId="e8c94f7e-bc6e-4c95-ac94-d3ff72f76780" providerId="ADAL" clId="{B0B0C007-45D6-4959-BAA4-F8CFD9D4A287}" dt="2023-03-27T08:12:24.533" v="648" actId="11529"/>
          <ac:spMkLst>
            <pc:docMk/>
            <pc:sldMk cId="2681821491" sldId="2449"/>
            <ac:spMk id="7" creationId="{8C5F13A0-2A60-EE56-C1EC-F5C7EE7CB9DE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7" creationId="{EE168066-909E-89FE-A3A0-91FF1A3B66FC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9" creationId="{45557366-5F4C-56C0-160B-0BAEC74915D1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1" creationId="{DBB24995-CD2D-E53E-4BA1-B3F04F779E3F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2" creationId="{86CCF9F4-418E-880B-CCFA-DC1D1DF82100}"/>
          </ac:spMkLst>
        </pc:spChg>
        <pc:spChg chg="mod">
          <ac:chgData name="Mauricio Pena" userId="e8c94f7e-bc6e-4c95-ac94-d3ff72f76780" providerId="ADAL" clId="{B0B0C007-45D6-4959-BAA4-F8CFD9D4A287}" dt="2023-04-14T10:26:00.506" v="1295" actId="108"/>
          <ac:spMkLst>
            <pc:docMk/>
            <pc:sldMk cId="2681821491" sldId="2449"/>
            <ac:spMk id="13" creationId="{77C03213-BC74-721D-B1FF-4A10B6C7EDBC}"/>
          </ac:spMkLst>
        </pc:spChg>
      </pc:sldChg>
      <pc:sldChg chg="modSp mod">
        <pc:chgData name="Mauricio Pena" userId="e8c94f7e-bc6e-4c95-ac94-d3ff72f76780" providerId="ADAL" clId="{B0B0C007-45D6-4959-BAA4-F8CFD9D4A287}" dt="2023-03-27T08:11:08.048" v="630" actId="255"/>
        <pc:sldMkLst>
          <pc:docMk/>
          <pc:sldMk cId="7716683" sldId="2522"/>
        </pc:sldMkLst>
        <pc:spChg chg="mod">
          <ac:chgData name="Mauricio Pena" userId="e8c94f7e-bc6e-4c95-ac94-d3ff72f76780" providerId="ADAL" clId="{B0B0C007-45D6-4959-BAA4-F8CFD9D4A287}" dt="2023-03-27T08:10:25.919" v="627" actId="403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B0B0C007-45D6-4959-BAA4-F8CFD9D4A287}" dt="2023-03-27T08:11:08.048" v="630" actId="255"/>
          <ac:spMkLst>
            <pc:docMk/>
            <pc:sldMk cId="7716683" sldId="2522"/>
            <ac:spMk id="6" creationId="{12A55244-6BBD-3CC0-ACDF-47D4610B081F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25:48.096" v="1294" actId="14100"/>
        <pc:sldMkLst>
          <pc:docMk/>
          <pc:sldMk cId="1373680846" sldId="2524"/>
        </pc:sldMkLst>
        <pc:spChg chg="mod">
          <ac:chgData name="Mauricio Pena" userId="e8c94f7e-bc6e-4c95-ac94-d3ff72f76780" providerId="ADAL" clId="{B0B0C007-45D6-4959-BAA4-F8CFD9D4A287}" dt="2023-03-27T08:09:21.740" v="619"/>
          <ac:spMkLst>
            <pc:docMk/>
            <pc:sldMk cId="1373680846" sldId="2524"/>
            <ac:spMk id="4" creationId="{B7DA9801-0835-4143-95FD-E14093FEC971}"/>
          </ac:spMkLst>
        </pc:spChg>
        <pc:spChg chg="add del mod">
          <ac:chgData name="Mauricio Pena" userId="e8c94f7e-bc6e-4c95-ac94-d3ff72f76780" providerId="ADAL" clId="{B0B0C007-45D6-4959-BAA4-F8CFD9D4A287}" dt="2023-03-27T08:14:26.562" v="657" actId="478"/>
          <ac:spMkLst>
            <pc:docMk/>
            <pc:sldMk cId="1373680846" sldId="2524"/>
            <ac:spMk id="7" creationId="{1067DCAC-93E1-37E7-30AF-07D40E314877}"/>
          </ac:spMkLst>
        </pc:spChg>
        <pc:spChg chg="mod">
          <ac:chgData name="Mauricio Pena" userId="e8c94f7e-bc6e-4c95-ac94-d3ff72f76780" providerId="ADAL" clId="{B0B0C007-45D6-4959-BAA4-F8CFD9D4A287}" dt="2023-04-14T10:25:48.096" v="1294" actId="14100"/>
          <ac:spMkLst>
            <pc:docMk/>
            <pc:sldMk cId="1373680846" sldId="2524"/>
            <ac:spMk id="7" creationId="{C6A67DE8-CBD4-272E-7FE3-E9AD2A09278E}"/>
          </ac:spMkLst>
        </pc:spChg>
        <pc:spChg chg="add mod">
          <ac:chgData name="Mauricio Pena" userId="e8c94f7e-bc6e-4c95-ac94-d3ff72f76780" providerId="ADAL" clId="{B0B0C007-45D6-4959-BAA4-F8CFD9D4A287}" dt="2023-03-27T08:14:49.264" v="660" actId="1076"/>
          <ac:spMkLst>
            <pc:docMk/>
            <pc:sldMk cId="1373680846" sldId="2524"/>
            <ac:spMk id="11" creationId="{D686F126-6E22-B28A-B749-0BCC34F504E7}"/>
          </ac:spMkLst>
        </pc:spChg>
        <pc:spChg chg="mod">
          <ac:chgData name="Mauricio Pena" userId="e8c94f7e-bc6e-4c95-ac94-d3ff72f76780" providerId="ADAL" clId="{B0B0C007-45D6-4959-BAA4-F8CFD9D4A287}" dt="2023-03-27T07:43:06.669" v="507" actId="1076"/>
          <ac:spMkLst>
            <pc:docMk/>
            <pc:sldMk cId="1373680846" sldId="2524"/>
            <ac:spMk id="58" creationId="{C3A9EE8E-EBC8-40E8-A7C4-EB5621D3DABC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35:27.691" v="1319" actId="9405"/>
        <pc:sldMkLst>
          <pc:docMk/>
          <pc:sldMk cId="2770796793" sldId="2525"/>
        </pc:sldMkLst>
        <pc:spChg chg="mod">
          <ac:chgData name="Mauricio Pena" userId="e8c94f7e-bc6e-4c95-ac94-d3ff72f76780" providerId="ADAL" clId="{B0B0C007-45D6-4959-BAA4-F8CFD9D4A287}" dt="2023-03-27T08:09:35.609" v="622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B0B0C007-45D6-4959-BAA4-F8CFD9D4A287}" dt="2023-03-27T08:09:30.711" v="621" actId="1076"/>
          <ac:spMkLst>
            <pc:docMk/>
            <pc:sldMk cId="2770796793" sldId="2525"/>
            <ac:spMk id="5" creationId="{444E32C3-FFC6-41E3-A361-663774D7500E}"/>
          </ac:spMkLst>
        </pc:spChg>
        <pc:spChg chg="add mod">
          <ac:chgData name="Mauricio Pena" userId="e8c94f7e-bc6e-4c95-ac94-d3ff72f76780" providerId="ADAL" clId="{B0B0C007-45D6-4959-BAA4-F8CFD9D4A287}" dt="2023-03-27T08:15:07.716" v="663" actId="1076"/>
          <ac:spMkLst>
            <pc:docMk/>
            <pc:sldMk cId="2770796793" sldId="2525"/>
            <ac:spMk id="7" creationId="{3812600F-9502-96F1-0F05-2B62445237DF}"/>
          </ac:spMkLst>
        </pc:spChg>
        <pc:spChg chg="mod">
          <ac:chgData name="Mauricio Pena" userId="e8c94f7e-bc6e-4c95-ac94-d3ff72f76780" providerId="ADAL" clId="{B0B0C007-45D6-4959-BAA4-F8CFD9D4A287}" dt="2023-04-14T10:26:48.019" v="1298" actId="14100"/>
          <ac:spMkLst>
            <pc:docMk/>
            <pc:sldMk cId="2770796793" sldId="2525"/>
            <ac:spMk id="9" creationId="{B163033E-E5DF-473F-6E93-398C07A5AAD4}"/>
          </ac:spMkLst>
        </pc:spChg>
        <pc:inkChg chg="add del">
          <ac:chgData name="Mauricio Pena" userId="e8c94f7e-bc6e-4c95-ac94-d3ff72f76780" providerId="ADAL" clId="{B0B0C007-45D6-4959-BAA4-F8CFD9D4A287}" dt="2023-04-14T10:35:09.517" v="1316" actId="9405"/>
          <ac:inkMkLst>
            <pc:docMk/>
            <pc:sldMk cId="2770796793" sldId="2525"/>
            <ac:inkMk id="11" creationId="{4A6AEF7A-E7D2-7DBF-C672-A1E6B7A2829D}"/>
          </ac:inkMkLst>
        </pc:inkChg>
        <pc:inkChg chg="add del">
          <ac:chgData name="Mauricio Pena" userId="e8c94f7e-bc6e-4c95-ac94-d3ff72f76780" providerId="ADAL" clId="{B0B0C007-45D6-4959-BAA4-F8CFD9D4A287}" dt="2023-04-14T10:35:27.691" v="1319" actId="9405"/>
          <ac:inkMkLst>
            <pc:docMk/>
            <pc:sldMk cId="2770796793" sldId="2525"/>
            <ac:inkMk id="12" creationId="{7A0296C7-F93E-1B29-7FA1-0F93FD3F1ECD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38:18.073" v="1334" actId="478"/>
        <pc:sldMkLst>
          <pc:docMk/>
          <pc:sldMk cId="2558631534" sldId="2526"/>
        </pc:sldMkLst>
        <pc:spChg chg="mod">
          <ac:chgData name="Mauricio Pena" userId="e8c94f7e-bc6e-4c95-ac94-d3ff72f76780" providerId="ADAL" clId="{B0B0C007-45D6-4959-BAA4-F8CFD9D4A287}" dt="2023-03-27T08:09:44.893" v="623"/>
          <ac:spMkLst>
            <pc:docMk/>
            <pc:sldMk cId="2558631534" sldId="2526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5:34.255" v="666" actId="1076"/>
          <ac:spMkLst>
            <pc:docMk/>
            <pc:sldMk cId="2558631534" sldId="2526"/>
            <ac:spMk id="7" creationId="{D36F363F-ED86-D1FD-6AE5-27E7029AE948}"/>
          </ac:spMkLst>
        </pc:spChg>
        <pc:spChg chg="mod">
          <ac:chgData name="Mauricio Pena" userId="e8c94f7e-bc6e-4c95-ac94-d3ff72f76780" providerId="ADAL" clId="{B0B0C007-45D6-4959-BAA4-F8CFD9D4A287}" dt="2023-04-14T10:38:06.571" v="1332" actId="14100"/>
          <ac:spMkLst>
            <pc:docMk/>
            <pc:sldMk cId="2558631534" sldId="2526"/>
            <ac:spMk id="9" creationId="{28679B20-270D-B677-C952-3959B281F19B}"/>
          </ac:spMkLst>
        </pc:spChg>
        <pc:spChg chg="del mod">
          <ac:chgData name="Mauricio Pena" userId="e8c94f7e-bc6e-4c95-ac94-d3ff72f76780" providerId="ADAL" clId="{B0B0C007-45D6-4959-BAA4-F8CFD9D4A287}" dt="2023-04-14T10:29:23.679" v="1312" actId="478"/>
          <ac:spMkLst>
            <pc:docMk/>
            <pc:sldMk cId="2558631534" sldId="2526"/>
            <ac:spMk id="9" creationId="{98036236-7269-6E39-14B0-85D1BE0BDBA3}"/>
          </ac:spMkLst>
        </pc:spChg>
        <pc:spChg chg="add del mod">
          <ac:chgData name="Mauricio Pena" userId="e8c94f7e-bc6e-4c95-ac94-d3ff72f76780" providerId="ADAL" clId="{B0B0C007-45D6-4959-BAA4-F8CFD9D4A287}" dt="2023-04-14T10:35:52.153" v="1323" actId="478"/>
          <ac:spMkLst>
            <pc:docMk/>
            <pc:sldMk cId="2558631534" sldId="2526"/>
            <ac:spMk id="10" creationId="{3802DE6D-B8DF-8F4F-03EF-C08FEE04AF2F}"/>
          </ac:spMkLst>
        </pc:spChg>
        <pc:spChg chg="add del mod">
          <ac:chgData name="Mauricio Pena" userId="e8c94f7e-bc6e-4c95-ac94-d3ff72f76780" providerId="ADAL" clId="{B0B0C007-45D6-4959-BAA4-F8CFD9D4A287}" dt="2023-04-14T10:38:16.897" v="1333" actId="478"/>
          <ac:spMkLst>
            <pc:docMk/>
            <pc:sldMk cId="2558631534" sldId="2526"/>
            <ac:spMk id="12" creationId="{264FF6F5-DD54-6E2E-6B8A-575F0C0F1963}"/>
          </ac:spMkLst>
        </pc:spChg>
        <pc:picChg chg="add del mod">
          <ac:chgData name="Mauricio Pena" userId="e8c94f7e-bc6e-4c95-ac94-d3ff72f76780" providerId="ADAL" clId="{B0B0C007-45D6-4959-BAA4-F8CFD9D4A287}" dt="2023-04-14T10:38:18.073" v="1334" actId="478"/>
          <ac:picMkLst>
            <pc:docMk/>
            <pc:sldMk cId="2558631534" sldId="2526"/>
            <ac:picMk id="13" creationId="{A44898B2-8D53-8DA8-F479-86ABFCD782C4}"/>
          </ac:picMkLst>
        </pc:picChg>
        <pc:inkChg chg="add del">
          <ac:chgData name="Mauricio Pena" userId="e8c94f7e-bc6e-4c95-ac94-d3ff72f76780" providerId="ADAL" clId="{B0B0C007-45D6-4959-BAA4-F8CFD9D4A287}" dt="2023-04-14T10:35:44.734" v="1322" actId="9405"/>
          <ac:inkMkLst>
            <pc:docMk/>
            <pc:sldMk cId="2558631534" sldId="2526"/>
            <ac:inkMk id="11" creationId="{5BF221ED-CE7F-41C1-32A2-1DC76E03C7A9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40:16.656" v="1346" actId="478"/>
        <pc:sldMkLst>
          <pc:docMk/>
          <pc:sldMk cId="2337050587" sldId="2527"/>
        </pc:sldMkLst>
        <pc:spChg chg="mod">
          <ac:chgData name="Mauricio Pena" userId="e8c94f7e-bc6e-4c95-ac94-d3ff72f76780" providerId="ADAL" clId="{B0B0C007-45D6-4959-BAA4-F8CFD9D4A287}" dt="2023-03-27T08:09:55.077" v="624"/>
          <ac:spMkLst>
            <pc:docMk/>
            <pc:sldMk cId="2337050587" sldId="2527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6:02.052" v="669" actId="1076"/>
          <ac:spMkLst>
            <pc:docMk/>
            <pc:sldMk cId="2337050587" sldId="2527"/>
            <ac:spMk id="7" creationId="{2F273B9E-55A5-0DCC-5724-7238BC743745}"/>
          </ac:spMkLst>
        </pc:spChg>
        <pc:spChg chg="del">
          <ac:chgData name="Mauricio Pena" userId="e8c94f7e-bc6e-4c95-ac94-d3ff72f76780" providerId="ADAL" clId="{B0B0C007-45D6-4959-BAA4-F8CFD9D4A287}" dt="2023-04-14T10:29:52.142" v="1313" actId="478"/>
          <ac:spMkLst>
            <pc:docMk/>
            <pc:sldMk cId="2337050587" sldId="2527"/>
            <ac:spMk id="9" creationId="{2D2070A6-369C-AC61-789B-365B5CF31DAD}"/>
          </ac:spMkLst>
        </pc:spChg>
        <pc:spChg chg="mod">
          <ac:chgData name="Mauricio Pena" userId="e8c94f7e-bc6e-4c95-ac94-d3ff72f76780" providerId="ADAL" clId="{B0B0C007-45D6-4959-BAA4-F8CFD9D4A287}" dt="2023-04-14T10:40:01.413" v="1345" actId="123"/>
          <ac:spMkLst>
            <pc:docMk/>
            <pc:sldMk cId="2337050587" sldId="2527"/>
            <ac:spMk id="9" creationId="{F994BD5C-94F8-9C5C-D955-A87A0556EF2A}"/>
          </ac:spMkLst>
        </pc:spChg>
        <pc:spChg chg="add del mod">
          <ac:chgData name="Mauricio Pena" userId="e8c94f7e-bc6e-4c95-ac94-d3ff72f76780" providerId="ADAL" clId="{B0B0C007-45D6-4959-BAA4-F8CFD9D4A287}" dt="2023-04-14T10:38:26.833" v="1335" actId="478"/>
          <ac:spMkLst>
            <pc:docMk/>
            <pc:sldMk cId="2337050587" sldId="2527"/>
            <ac:spMk id="10" creationId="{99DED6C9-3CB5-1EE3-0A66-BBF34373C064}"/>
          </ac:spMkLst>
        </pc:spChg>
        <pc:spChg chg="add del mod">
          <ac:chgData name="Mauricio Pena" userId="e8c94f7e-bc6e-4c95-ac94-d3ff72f76780" providerId="ADAL" clId="{B0B0C007-45D6-4959-BAA4-F8CFD9D4A287}" dt="2023-04-14T10:40:16.656" v="1346" actId="478"/>
          <ac:spMkLst>
            <pc:docMk/>
            <pc:sldMk cId="2337050587" sldId="2527"/>
            <ac:spMk id="11" creationId="{151E57A5-2608-E23D-AA6F-24E62DEBD853}"/>
          </ac:spMkLst>
        </pc:spChg>
        <pc:spChg chg="add del mod">
          <ac:chgData name="Mauricio Pena" userId="e8c94f7e-bc6e-4c95-ac94-d3ff72f76780" providerId="ADAL" clId="{B0B0C007-45D6-4959-BAA4-F8CFD9D4A287}" dt="2023-04-14T10:39:36.936" v="1342" actId="478"/>
          <ac:spMkLst>
            <pc:docMk/>
            <pc:sldMk cId="2337050587" sldId="2527"/>
            <ac:spMk id="12" creationId="{3C7C742A-385A-3BFF-4F33-946DD35CC744}"/>
          </ac:spMkLst>
        </pc:spChg>
      </pc:sldChg>
      <pc:sldChg chg="addSp delSp modSp new mod ord">
        <pc:chgData name="Mauricio Pena" userId="e8c94f7e-bc6e-4c95-ac94-d3ff72f76780" providerId="ADAL" clId="{B0B0C007-45D6-4959-BAA4-F8CFD9D4A287}" dt="2023-03-28T05:37:52.982" v="1264" actId="113"/>
        <pc:sldMkLst>
          <pc:docMk/>
          <pc:sldMk cId="3350667678" sldId="2528"/>
        </pc:sldMkLst>
        <pc:spChg chg="del mod">
          <ac:chgData name="Mauricio Pena" userId="e8c94f7e-bc6e-4c95-ac94-d3ff72f76780" providerId="ADAL" clId="{B0B0C007-45D6-4959-BAA4-F8CFD9D4A287}" dt="2023-03-27T07:11:38.164" v="49"/>
          <ac:spMkLst>
            <pc:docMk/>
            <pc:sldMk cId="3350667678" sldId="2528"/>
            <ac:spMk id="2" creationId="{590A852A-0B00-077E-6A4E-464F9BF0976E}"/>
          </ac:spMkLst>
        </pc:spChg>
        <pc:spChg chg="mod">
          <ac:chgData name="Mauricio Pena" userId="e8c94f7e-bc6e-4c95-ac94-d3ff72f76780" providerId="ADAL" clId="{B0B0C007-45D6-4959-BAA4-F8CFD9D4A287}" dt="2023-03-27T07:37:48.557" v="466" actId="1076"/>
          <ac:spMkLst>
            <pc:docMk/>
            <pc:sldMk cId="3350667678" sldId="2528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5" creationId="{55E6ED9E-D640-81D1-AA07-B1D3C748A609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6" creationId="{84E721E3-03CA-AB4D-8147-48C44C3F9094}"/>
          </ac:spMkLst>
        </pc:spChg>
        <pc:spChg chg="add mod">
          <ac:chgData name="Mauricio Pena" userId="e8c94f7e-bc6e-4c95-ac94-d3ff72f76780" providerId="ADAL" clId="{B0B0C007-45D6-4959-BAA4-F8CFD9D4A287}" dt="2023-03-28T05:35:33.329" v="1242" actId="1076"/>
          <ac:spMkLst>
            <pc:docMk/>
            <pc:sldMk cId="3350667678" sldId="2528"/>
            <ac:spMk id="7" creationId="{7019796C-7145-51CA-BB17-18E3A40E714F}"/>
          </ac:spMkLst>
        </pc:spChg>
        <pc:spChg chg="add del mod">
          <ac:chgData name="Mauricio Pena" userId="e8c94f7e-bc6e-4c95-ac94-d3ff72f76780" providerId="ADAL" clId="{B0B0C007-45D6-4959-BAA4-F8CFD9D4A287}" dt="2023-03-27T07:13:22.543" v="57" actId="478"/>
          <ac:spMkLst>
            <pc:docMk/>
            <pc:sldMk cId="3350667678" sldId="2528"/>
            <ac:spMk id="7" creationId="{76A096EB-B1B3-0984-368B-2B1C93E2CAA1}"/>
          </ac:spMkLst>
        </pc:spChg>
        <pc:spChg chg="del mod">
          <ac:chgData name="Mauricio Pena" userId="e8c94f7e-bc6e-4c95-ac94-d3ff72f76780" providerId="ADAL" clId="{B0B0C007-45D6-4959-BAA4-F8CFD9D4A287}" dt="2023-03-27T07:14:03.939" v="125" actId="478"/>
          <ac:spMkLst>
            <pc:docMk/>
            <pc:sldMk cId="3350667678" sldId="2528"/>
            <ac:spMk id="15" creationId="{8068080B-A5F3-0F94-A70B-BA175ECE3BF2}"/>
          </ac:spMkLst>
        </pc:spChg>
        <pc:spChg chg="del mod">
          <ac:chgData name="Mauricio Pena" userId="e8c94f7e-bc6e-4c95-ac94-d3ff72f76780" providerId="ADAL" clId="{B0B0C007-45D6-4959-BAA4-F8CFD9D4A287}" dt="2023-03-27T07:14:09.826" v="126" actId="478"/>
          <ac:spMkLst>
            <pc:docMk/>
            <pc:sldMk cId="3350667678" sldId="2528"/>
            <ac:spMk id="16" creationId="{B312909A-4EA3-9AE3-7C68-B1117F29F429}"/>
          </ac:spMkLst>
        </pc:spChg>
        <pc:spChg chg="del mod">
          <ac:chgData name="Mauricio Pena" userId="e8c94f7e-bc6e-4c95-ac94-d3ff72f76780" providerId="ADAL" clId="{B0B0C007-45D6-4959-BAA4-F8CFD9D4A287}" dt="2023-03-27T07:14:02.050" v="124" actId="478"/>
          <ac:spMkLst>
            <pc:docMk/>
            <pc:sldMk cId="3350667678" sldId="2528"/>
            <ac:spMk id="17" creationId="{FFEB42A0-7D37-A6E1-1F0E-FD4515A9B816}"/>
          </ac:spMkLst>
        </pc:spChg>
        <pc:spChg chg="del mod">
          <ac:chgData name="Mauricio Pena" userId="e8c94f7e-bc6e-4c95-ac94-d3ff72f76780" providerId="ADAL" clId="{B0B0C007-45D6-4959-BAA4-F8CFD9D4A287}" dt="2023-03-27T07:14:14.210" v="127" actId="478"/>
          <ac:spMkLst>
            <pc:docMk/>
            <pc:sldMk cId="3350667678" sldId="2528"/>
            <ac:spMk id="18" creationId="{3C91CA96-80FE-782A-422B-DB8823661D27}"/>
          </ac:spMkLst>
        </pc:spChg>
        <pc:spChg chg="del mod">
          <ac:chgData name="Mauricio Pena" userId="e8c94f7e-bc6e-4c95-ac94-d3ff72f76780" providerId="ADAL" clId="{B0B0C007-45D6-4959-BAA4-F8CFD9D4A287}" dt="2023-03-27T07:13:59.746" v="123" actId="478"/>
          <ac:spMkLst>
            <pc:docMk/>
            <pc:sldMk cId="3350667678" sldId="2528"/>
            <ac:spMk id="19" creationId="{FAF53E9F-9893-828D-AAAE-49F657496AC3}"/>
          </ac:spMkLst>
        </pc:spChg>
        <pc:spChg chg="del mod">
          <ac:chgData name="Mauricio Pena" userId="e8c94f7e-bc6e-4c95-ac94-d3ff72f76780" providerId="ADAL" clId="{B0B0C007-45D6-4959-BAA4-F8CFD9D4A287}" dt="2023-03-27T07:14:16.995" v="128" actId="478"/>
          <ac:spMkLst>
            <pc:docMk/>
            <pc:sldMk cId="3350667678" sldId="2528"/>
            <ac:spMk id="20" creationId="{2656B2BF-CAC0-7D07-CDFA-2D7B43403348}"/>
          </ac:spMkLst>
        </pc:spChg>
        <pc:spChg chg="del mod">
          <ac:chgData name="Mauricio Pena" userId="e8c94f7e-bc6e-4c95-ac94-d3ff72f76780" providerId="ADAL" clId="{B0B0C007-45D6-4959-BAA4-F8CFD9D4A287}" dt="2023-03-27T07:13:57.076" v="121" actId="478"/>
          <ac:spMkLst>
            <pc:docMk/>
            <pc:sldMk cId="3350667678" sldId="2528"/>
            <ac:spMk id="21" creationId="{595294D3-875A-9513-E6DB-D8848AFEDAE5}"/>
          </ac:spMkLst>
        </pc:spChg>
        <pc:spChg chg="del mod">
          <ac:chgData name="Mauricio Pena" userId="e8c94f7e-bc6e-4c95-ac94-d3ff72f76780" providerId="ADAL" clId="{B0B0C007-45D6-4959-BAA4-F8CFD9D4A287}" dt="2023-03-27T07:14:19.238" v="129" actId="478"/>
          <ac:spMkLst>
            <pc:docMk/>
            <pc:sldMk cId="3350667678" sldId="2528"/>
            <ac:spMk id="22" creationId="{98FAEED5-650A-C98F-4E0D-C7F7DA398DA7}"/>
          </ac:spMkLst>
        </pc:spChg>
        <pc:spChg chg="del mod">
          <ac:chgData name="Mauricio Pena" userId="e8c94f7e-bc6e-4c95-ac94-d3ff72f76780" providerId="ADAL" clId="{B0B0C007-45D6-4959-BAA4-F8CFD9D4A287}" dt="2023-03-27T07:35:31.902" v="380" actId="478"/>
          <ac:spMkLst>
            <pc:docMk/>
            <pc:sldMk cId="3350667678" sldId="2528"/>
            <ac:spMk id="23" creationId="{34236162-2A49-FAA8-F85D-0EC726E76456}"/>
          </ac:spMkLst>
        </pc:spChg>
        <pc:spChg chg="del mod topLvl">
          <ac:chgData name="Mauricio Pena" userId="e8c94f7e-bc6e-4c95-ac94-d3ff72f76780" providerId="ADAL" clId="{B0B0C007-45D6-4959-BAA4-F8CFD9D4A287}" dt="2023-03-27T07:35:34.270" v="381" actId="478"/>
          <ac:spMkLst>
            <pc:docMk/>
            <pc:sldMk cId="3350667678" sldId="2528"/>
            <ac:spMk id="24" creationId="{AD467341-5924-8DE5-1884-6F8743433E54}"/>
          </ac:spMkLst>
        </pc:spChg>
        <pc:spChg chg="mod">
          <ac:chgData name="Mauricio Pena" userId="e8c94f7e-bc6e-4c95-ac94-d3ff72f76780" providerId="ADAL" clId="{B0B0C007-45D6-4959-BAA4-F8CFD9D4A287}" dt="2023-03-27T07:13:36.450" v="78" actId="20577"/>
          <ac:spMkLst>
            <pc:docMk/>
            <pc:sldMk cId="3350667678" sldId="2528"/>
            <ac:spMk id="25" creationId="{A062EA1F-1652-3350-8E3E-B32E76B6904F}"/>
          </ac:spMkLst>
        </pc:spChg>
        <pc:spChg chg="mod">
          <ac:chgData name="Mauricio Pena" userId="e8c94f7e-bc6e-4c95-ac94-d3ff72f76780" providerId="ADAL" clId="{B0B0C007-45D6-4959-BAA4-F8CFD9D4A287}" dt="2023-03-27T07:12:48.696" v="56"/>
          <ac:spMkLst>
            <pc:docMk/>
            <pc:sldMk cId="3350667678" sldId="2528"/>
            <ac:spMk id="26" creationId="{4E8542FD-7375-44DC-1029-5E8885FDE87D}"/>
          </ac:spMkLst>
        </pc:spChg>
        <pc:spChg chg="add del mod">
          <ac:chgData name="Mauricio Pena" userId="e8c94f7e-bc6e-4c95-ac94-d3ff72f76780" providerId="ADAL" clId="{B0B0C007-45D6-4959-BAA4-F8CFD9D4A287}" dt="2023-03-27T07:33:58.700" v="330" actId="478"/>
          <ac:spMkLst>
            <pc:docMk/>
            <pc:sldMk cId="3350667678" sldId="2528"/>
            <ac:spMk id="27" creationId="{E5F9EE4C-BA03-8748-5A6A-0D14294C6B62}"/>
          </ac:spMkLst>
        </pc:spChg>
        <pc:spChg chg="add mod">
          <ac:chgData name="Mauricio Pena" userId="e8c94f7e-bc6e-4c95-ac94-d3ff72f76780" providerId="ADAL" clId="{B0B0C007-45D6-4959-BAA4-F8CFD9D4A287}" dt="2023-03-28T05:37:52.982" v="1264" actId="113"/>
          <ac:spMkLst>
            <pc:docMk/>
            <pc:sldMk cId="3350667678" sldId="2528"/>
            <ac:spMk id="30" creationId="{D7D58870-CD42-8214-D742-2C13690708D7}"/>
          </ac:spMkLst>
        </pc:spChg>
        <pc:grpChg chg="add mod">
          <ac:chgData name="Mauricio Pena" userId="e8c94f7e-bc6e-4c95-ac94-d3ff72f76780" providerId="ADAL" clId="{B0B0C007-45D6-4959-BAA4-F8CFD9D4A287}" dt="2023-03-28T05:35:08.509" v="1240" actId="1076"/>
          <ac:grpSpMkLst>
            <pc:docMk/>
            <pc:sldMk cId="3350667678" sldId="2528"/>
            <ac:grpSpMk id="2" creationId="{0711241C-01E1-113A-6ADD-2FC7C65F188B}"/>
          </ac:grpSpMkLst>
        </pc:grpChg>
        <pc:grpChg chg="add del mod">
          <ac:chgData name="Mauricio Pena" userId="e8c94f7e-bc6e-4c95-ac94-d3ff72f76780" providerId="ADAL" clId="{B0B0C007-45D6-4959-BAA4-F8CFD9D4A287}" dt="2023-03-27T07:35:34.270" v="381" actId="478"/>
          <ac:grpSpMkLst>
            <pc:docMk/>
            <pc:sldMk cId="3350667678" sldId="2528"/>
            <ac:grpSpMk id="8" creationId="{88FCE57C-72FB-A858-1877-AE2BF715F5B3}"/>
          </ac:grpSpMkLst>
        </pc:grpChg>
        <pc:grpChg chg="mod topLvl">
          <ac:chgData name="Mauricio Pena" userId="e8c94f7e-bc6e-4c95-ac94-d3ff72f76780" providerId="ADAL" clId="{B0B0C007-45D6-4959-BAA4-F8CFD9D4A287}" dt="2023-03-27T07:37:55.475" v="467" actId="1076"/>
          <ac:grpSpMkLst>
            <pc:docMk/>
            <pc:sldMk cId="3350667678" sldId="2528"/>
            <ac:grpSpMk id="9" creationId="{30FAC716-C6EF-33E4-05BB-BF60E2EC8752}"/>
          </ac:grpSpMkLst>
        </pc:grpChg>
        <pc:grpChg chg="del mod">
          <ac:chgData name="Mauricio Pena" userId="e8c94f7e-bc6e-4c95-ac94-d3ff72f76780" providerId="ADAL" clId="{B0B0C007-45D6-4959-BAA4-F8CFD9D4A287}" dt="2023-03-27T07:35:31.902" v="380" actId="478"/>
          <ac:grpSpMkLst>
            <pc:docMk/>
            <pc:sldMk cId="3350667678" sldId="2528"/>
            <ac:grpSpMk id="10" creationId="{77269F0B-8FCB-8FA7-D38F-A2C02785AD55}"/>
          </ac:grpSpMkLst>
        </pc:grpChg>
        <pc:grpChg chg="del mod">
          <ac:chgData name="Mauricio Pena" userId="e8c94f7e-bc6e-4c95-ac94-d3ff72f76780" providerId="ADAL" clId="{B0B0C007-45D6-4959-BAA4-F8CFD9D4A287}" dt="2023-03-27T07:13:57.076" v="121" actId="478"/>
          <ac:grpSpMkLst>
            <pc:docMk/>
            <pc:sldMk cId="3350667678" sldId="2528"/>
            <ac:grpSpMk id="11" creationId="{BF161A47-54D3-4797-C9EC-6F1DE973C2F6}"/>
          </ac:grpSpMkLst>
        </pc:grpChg>
        <pc:grpChg chg="del mod">
          <ac:chgData name="Mauricio Pena" userId="e8c94f7e-bc6e-4c95-ac94-d3ff72f76780" providerId="ADAL" clId="{B0B0C007-45D6-4959-BAA4-F8CFD9D4A287}" dt="2023-03-27T07:13:59.746" v="123" actId="478"/>
          <ac:grpSpMkLst>
            <pc:docMk/>
            <pc:sldMk cId="3350667678" sldId="2528"/>
            <ac:grpSpMk id="12" creationId="{D660F787-5A3E-90BE-99D3-AA72185D5D16}"/>
          </ac:grpSpMkLst>
        </pc:grpChg>
        <pc:grpChg chg="del mod">
          <ac:chgData name="Mauricio Pena" userId="e8c94f7e-bc6e-4c95-ac94-d3ff72f76780" providerId="ADAL" clId="{B0B0C007-45D6-4959-BAA4-F8CFD9D4A287}" dt="2023-03-27T07:14:02.050" v="124" actId="478"/>
          <ac:grpSpMkLst>
            <pc:docMk/>
            <pc:sldMk cId="3350667678" sldId="2528"/>
            <ac:grpSpMk id="13" creationId="{68442A27-2316-9C60-F072-0FACB98EF81E}"/>
          </ac:grpSpMkLst>
        </pc:grpChg>
        <pc:grpChg chg="del mod">
          <ac:chgData name="Mauricio Pena" userId="e8c94f7e-bc6e-4c95-ac94-d3ff72f76780" providerId="ADAL" clId="{B0B0C007-45D6-4959-BAA4-F8CFD9D4A287}" dt="2023-03-27T07:14:03.939" v="125" actId="478"/>
          <ac:grpSpMkLst>
            <pc:docMk/>
            <pc:sldMk cId="3350667678" sldId="2528"/>
            <ac:grpSpMk id="14" creationId="{05A6D6D5-5549-8156-B30B-081FDDA672C0}"/>
          </ac:grpSpMkLst>
        </pc:grpChg>
        <pc:graphicFrameChg chg="add del mod modGraphic">
          <ac:chgData name="Mauricio Pena" userId="e8c94f7e-bc6e-4c95-ac94-d3ff72f76780" providerId="ADAL" clId="{B0B0C007-45D6-4959-BAA4-F8CFD9D4A287}" dt="2023-03-27T07:21:28.301" v="256" actId="27309"/>
          <ac:graphicFrameMkLst>
            <pc:docMk/>
            <pc:sldMk cId="3350667678" sldId="2528"/>
            <ac:graphicFrameMk id="29" creationId="{EFCE5C61-7FEF-3096-9A41-FFFF2DFE3D72}"/>
          </ac:graphicFrameMkLst>
        </pc:graphicFrameChg>
        <pc:picChg chg="add del mod">
          <ac:chgData name="Mauricio Pena" userId="e8c94f7e-bc6e-4c95-ac94-d3ff72f76780" providerId="ADAL" clId="{B0B0C007-45D6-4959-BAA4-F8CFD9D4A287}" dt="2023-03-27T07:12:04.383" v="55" actId="478"/>
          <ac:picMkLst>
            <pc:docMk/>
            <pc:sldMk cId="3350667678" sldId="2528"/>
            <ac:picMk id="5" creationId="{CD08DEFB-6801-2C55-7874-C671FCE68AD9}"/>
          </ac:picMkLst>
        </pc:picChg>
        <pc:picChg chg="add del mod">
          <ac:chgData name="Mauricio Pena" userId="e8c94f7e-bc6e-4c95-ac94-d3ff72f76780" providerId="ADAL" clId="{B0B0C007-45D6-4959-BAA4-F8CFD9D4A287}" dt="2023-03-27T07:12:03.504" v="54" actId="478"/>
          <ac:picMkLst>
            <pc:docMk/>
            <pc:sldMk cId="3350667678" sldId="2528"/>
            <ac:picMk id="6" creationId="{9DA37D68-EDA8-27CA-FD98-9C6207E9C582}"/>
          </ac:picMkLst>
        </pc:picChg>
      </pc:sldChg>
      <pc:sldChg chg="new del">
        <pc:chgData name="Mauricio Pena" userId="e8c94f7e-bc6e-4c95-ac94-d3ff72f76780" providerId="ADAL" clId="{B0B0C007-45D6-4959-BAA4-F8CFD9D4A287}" dt="2023-03-27T07:05:14.232" v="6" actId="2696"/>
        <pc:sldMkLst>
          <pc:docMk/>
          <pc:sldMk cId="3572376677" sldId="2528"/>
        </pc:sldMkLst>
      </pc:sldChg>
      <pc:sldChg chg="new del">
        <pc:chgData name="Mauricio Pena" userId="e8c94f7e-bc6e-4c95-ac94-d3ff72f76780" providerId="ADAL" clId="{B0B0C007-45D6-4959-BAA4-F8CFD9D4A287}" dt="2023-03-27T07:04:36.275" v="4" actId="2696"/>
        <pc:sldMkLst>
          <pc:docMk/>
          <pc:sldMk cId="4207907230" sldId="2528"/>
        </pc:sldMkLst>
      </pc:sldChg>
      <pc:sldChg chg="addSp delSp modSp add del mod">
        <pc:chgData name="Mauricio Pena" userId="e8c94f7e-bc6e-4c95-ac94-d3ff72f76780" providerId="ADAL" clId="{B0B0C007-45D6-4959-BAA4-F8CFD9D4A287}" dt="2023-03-28T05:35:45.267" v="1243" actId="2696"/>
        <pc:sldMkLst>
          <pc:docMk/>
          <pc:sldMk cId="2320169938" sldId="2529"/>
        </pc:sldMkLst>
        <pc:spChg chg="add mod">
          <ac:chgData name="Mauricio Pena" userId="e8c94f7e-bc6e-4c95-ac94-d3ff72f76780" providerId="ADAL" clId="{B0B0C007-45D6-4959-BAA4-F8CFD9D4A287}" dt="2023-03-27T08:04:47.771" v="618" actId="113"/>
          <ac:spMkLst>
            <pc:docMk/>
            <pc:sldMk cId="2320169938" sldId="2529"/>
            <ac:spMk id="2" creationId="{7C3569D6-5BDE-E114-E4B4-1A9F8AD92EB5}"/>
          </ac:spMkLst>
        </pc:spChg>
        <pc:spChg chg="mod">
          <ac:chgData name="Mauricio Pena" userId="e8c94f7e-bc6e-4c95-ac94-d3ff72f76780" providerId="ADAL" clId="{B0B0C007-45D6-4959-BAA4-F8CFD9D4A287}" dt="2023-03-27T07:37:10.723" v="462" actId="1076"/>
          <ac:spMkLst>
            <pc:docMk/>
            <pc:sldMk cId="2320169938" sldId="2529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7T07:36:30.311" v="446" actId="1076"/>
          <ac:spMkLst>
            <pc:docMk/>
            <pc:sldMk cId="2320169938" sldId="2529"/>
            <ac:spMk id="23" creationId="{34236162-2A49-FAA8-F85D-0EC726E76456}"/>
          </ac:spMkLst>
        </pc:spChg>
        <pc:spChg chg="mod">
          <ac:chgData name="Mauricio Pena" userId="e8c94f7e-bc6e-4c95-ac94-d3ff72f76780" providerId="ADAL" clId="{B0B0C007-45D6-4959-BAA4-F8CFD9D4A287}" dt="2023-03-27T07:36:35.767" v="447" actId="1076"/>
          <ac:spMkLst>
            <pc:docMk/>
            <pc:sldMk cId="2320169938" sldId="2529"/>
            <ac:spMk id="24" creationId="{AD467341-5924-8DE5-1884-6F8743433E54}"/>
          </ac:spMkLst>
        </pc:spChg>
        <pc:spChg chg="del topLvl">
          <ac:chgData name="Mauricio Pena" userId="e8c94f7e-bc6e-4c95-ac94-d3ff72f76780" providerId="ADAL" clId="{B0B0C007-45D6-4959-BAA4-F8CFD9D4A287}" dt="2023-03-27T07:58:50.162" v="573" actId="478"/>
          <ac:spMkLst>
            <pc:docMk/>
            <pc:sldMk cId="2320169938" sldId="2529"/>
            <ac:spMk id="25" creationId="{A062EA1F-1652-3350-8E3E-B32E76B6904F}"/>
          </ac:spMkLst>
        </pc:spChg>
        <pc:spChg chg="del">
          <ac:chgData name="Mauricio Pena" userId="e8c94f7e-bc6e-4c95-ac94-d3ff72f76780" providerId="ADAL" clId="{B0B0C007-45D6-4959-BAA4-F8CFD9D4A287}" dt="2023-03-27T07:58:48.403" v="572" actId="478"/>
          <ac:spMkLst>
            <pc:docMk/>
            <pc:sldMk cId="2320169938" sldId="2529"/>
            <ac:spMk id="26" creationId="{4E8542FD-7375-44DC-1029-5E8885FDE87D}"/>
          </ac:spMkLst>
        </pc:spChg>
        <pc:spChg chg="del mod">
          <ac:chgData name="Mauricio Pena" userId="e8c94f7e-bc6e-4c95-ac94-d3ff72f76780" providerId="ADAL" clId="{B0B0C007-45D6-4959-BAA4-F8CFD9D4A287}" dt="2023-03-27T07:58:51.873" v="574" actId="478"/>
          <ac:spMkLst>
            <pc:docMk/>
            <pc:sldMk cId="2320169938" sldId="2529"/>
            <ac:spMk id="30" creationId="{D7D58870-CD42-8214-D742-2C13690708D7}"/>
          </ac:spMkLst>
        </pc:spChg>
        <pc:grpChg chg="del mod">
          <ac:chgData name="Mauricio Pena" userId="e8c94f7e-bc6e-4c95-ac94-d3ff72f76780" providerId="ADAL" clId="{B0B0C007-45D6-4959-BAA4-F8CFD9D4A287}" dt="2023-03-27T07:58:50.162" v="573" actId="478"/>
          <ac:grpSpMkLst>
            <pc:docMk/>
            <pc:sldMk cId="2320169938" sldId="2529"/>
            <ac:grpSpMk id="8" creationId="{88FCE57C-72FB-A858-1877-AE2BF715F5B3}"/>
          </ac:grpSpMkLst>
        </pc:grpChg>
        <pc:grpChg chg="del">
          <ac:chgData name="Mauricio Pena" userId="e8c94f7e-bc6e-4c95-ac94-d3ff72f76780" providerId="ADAL" clId="{B0B0C007-45D6-4959-BAA4-F8CFD9D4A287}" dt="2023-03-27T07:58:48.403" v="572" actId="478"/>
          <ac:grpSpMkLst>
            <pc:docMk/>
            <pc:sldMk cId="2320169938" sldId="2529"/>
            <ac:grpSpMk id="9" creationId="{30FAC716-C6EF-33E4-05BB-BF60E2EC8752}"/>
          </ac:grpSpMkLst>
        </pc:grpChg>
        <pc:grpChg chg="mod topLvl">
          <ac:chgData name="Mauricio Pena" userId="e8c94f7e-bc6e-4c95-ac94-d3ff72f76780" providerId="ADAL" clId="{B0B0C007-45D6-4959-BAA4-F8CFD9D4A287}" dt="2023-03-27T07:59:04.764" v="575" actId="1076"/>
          <ac:grpSpMkLst>
            <pc:docMk/>
            <pc:sldMk cId="2320169938" sldId="2529"/>
            <ac:grpSpMk id="10" creationId="{77269F0B-8FCB-8FA7-D38F-A2C02785AD55}"/>
          </ac:grpSpMkLst>
        </pc:grpChg>
      </pc:sldChg>
      <pc:sldMasterChg chg="modSldLayout">
        <pc:chgData name="Mauricio Pena" userId="e8c94f7e-bc6e-4c95-ac94-d3ff72f76780" providerId="ADAL" clId="{B0B0C007-45D6-4959-BAA4-F8CFD9D4A287}" dt="2023-04-14T10:13:44.902" v="1273"/>
        <pc:sldMasterMkLst>
          <pc:docMk/>
          <pc:sldMasterMk cId="0" sldId="2147483804"/>
        </pc:sldMasterMkLst>
        <pc:sldLayoutChg chg="addSp delSp modSp">
          <pc:chgData name="Mauricio Pena" userId="e8c94f7e-bc6e-4c95-ac94-d3ff72f76780" providerId="ADAL" clId="{B0B0C007-45D6-4959-BAA4-F8CFD9D4A287}" dt="2023-04-14T10:13:44.902" v="1273"/>
          <pc:sldLayoutMkLst>
            <pc:docMk/>
            <pc:sldMasterMk cId="0" sldId="2147483804"/>
            <pc:sldLayoutMk cId="394290957" sldId="2147484021"/>
          </pc:sldLayoutMkLst>
          <pc:spChg chg="del">
            <ac:chgData name="Mauricio Pena" userId="e8c94f7e-bc6e-4c95-ac94-d3ff72f76780" providerId="ADAL" clId="{B0B0C007-45D6-4959-BAA4-F8CFD9D4A287}" dt="2023-04-14T10:09:56.386" v="1267"/>
            <ac:spMkLst>
              <pc:docMk/>
              <pc:sldMasterMk cId="0" sldId="2147483804"/>
              <pc:sldLayoutMk cId="394290957" sldId="2147484021"/>
              <ac:spMk id="2" creationId="{00000000-0000-0000-0000-000000000000}"/>
            </ac:spMkLst>
          </pc:spChg>
          <pc:spChg chg="add del mod">
            <ac:chgData name="Mauricio Pena" userId="e8c94f7e-bc6e-4c95-ac94-d3ff72f76780" providerId="ADAL" clId="{B0B0C007-45D6-4959-BAA4-F8CFD9D4A287}" dt="2023-04-14T10:09:59.702" v="1269"/>
            <ac:spMkLst>
              <pc:docMk/>
              <pc:sldMasterMk cId="0" sldId="2147483804"/>
              <pc:sldLayoutMk cId="394290957" sldId="2147484021"/>
              <ac:spMk id="3" creationId="{B72E9722-66B2-619C-77C5-53D58E7730B6}"/>
            </ac:spMkLst>
          </pc:spChg>
          <pc:spChg chg="add del mod">
            <ac:chgData name="Mauricio Pena" userId="e8c94f7e-bc6e-4c95-ac94-d3ff72f76780" providerId="ADAL" clId="{B0B0C007-45D6-4959-BAA4-F8CFD9D4A287}" dt="2023-04-14T10:13:43.877" v="1272"/>
            <ac:spMkLst>
              <pc:docMk/>
              <pc:sldMasterMk cId="0" sldId="2147483804"/>
              <pc:sldLayoutMk cId="394290957" sldId="2147484021"/>
              <ac:spMk id="5" creationId="{BB596FDE-AC32-0D35-A4AF-00C9C1DF4B8F}"/>
            </ac:spMkLst>
          </pc:spChg>
          <pc:spChg chg="add mod">
            <ac:chgData name="Mauricio Pena" userId="e8c94f7e-bc6e-4c95-ac94-d3ff72f76780" providerId="ADAL" clId="{B0B0C007-45D6-4959-BAA4-F8CFD9D4A287}" dt="2023-04-14T10:13:40.599" v="1271"/>
            <ac:spMkLst>
              <pc:docMk/>
              <pc:sldMasterMk cId="0" sldId="2147483804"/>
              <pc:sldLayoutMk cId="394290957" sldId="2147484021"/>
              <ac:spMk id="7" creationId="{5C9B2F54-7B5E-309F-F6A6-17BB441280F6}"/>
            </ac:spMkLst>
          </pc:spChg>
          <pc:spChg chg="add mod">
            <ac:chgData name="Mauricio Pena" userId="e8c94f7e-bc6e-4c95-ac94-d3ff72f76780" providerId="ADAL" clId="{B0B0C007-45D6-4959-BAA4-F8CFD9D4A287}" dt="2023-04-14T10:13:44.902" v="1273"/>
            <ac:spMkLst>
              <pc:docMk/>
              <pc:sldMasterMk cId="0" sldId="2147483804"/>
              <pc:sldLayoutMk cId="394290957" sldId="2147484021"/>
              <ac:spMk id="8" creationId="{5F56939B-100C-7693-6068-68FBFF18FB68}"/>
            </ac:spMkLst>
          </pc:spChg>
        </pc:sldLayoutChg>
      </pc:sldMasterChg>
    </pc:docChg>
  </pc:docChgLst>
  <pc:docChgLst>
    <pc:chgData name="Mauricio Pena" userId="e8c94f7e-bc6e-4c95-ac94-d3ff72f76780" providerId="ADAL" clId="{39891536-F118-4B6C-A07D-0605C1789588}"/>
    <pc:docChg chg="undo custSel delSld modSld">
      <pc:chgData name="Mauricio Pena" userId="e8c94f7e-bc6e-4c95-ac94-d3ff72f76780" providerId="ADAL" clId="{39891536-F118-4B6C-A07D-0605C1789588}" dt="2024-02-05T07:36:15.469" v="177" actId="29295"/>
      <pc:docMkLst>
        <pc:docMk/>
      </pc:docMkLst>
      <pc:sldChg chg="addSp modSp mod">
        <pc:chgData name="Mauricio Pena" userId="e8c94f7e-bc6e-4c95-ac94-d3ff72f76780" providerId="ADAL" clId="{39891536-F118-4B6C-A07D-0605C1789588}" dt="2024-02-05T07:23:12.836" v="49" actId="20577"/>
        <pc:sldMkLst>
          <pc:docMk/>
          <pc:sldMk cId="0" sldId="283"/>
        </pc:sldMkLst>
        <pc:spChg chg="mod">
          <ac:chgData name="Mauricio Pena" userId="e8c94f7e-bc6e-4c95-ac94-d3ff72f76780" providerId="ADAL" clId="{39891536-F118-4B6C-A07D-0605C1789588}" dt="2024-02-05T07:23:12.836" v="49" actId="20577"/>
          <ac:spMkLst>
            <pc:docMk/>
            <pc:sldMk cId="0" sldId="283"/>
            <ac:spMk id="2" creationId="{72F36DA5-2921-8668-88B4-7B2CEBE3E63F}"/>
          </ac:spMkLst>
        </pc:spChg>
        <pc:picChg chg="add mod">
          <ac:chgData name="Mauricio Pena" userId="e8c94f7e-bc6e-4c95-ac94-d3ff72f76780" providerId="ADAL" clId="{39891536-F118-4B6C-A07D-0605C1789588}" dt="2024-02-05T07:22:53.847" v="33" actId="29295"/>
          <ac:picMkLst>
            <pc:docMk/>
            <pc:sldMk cId="0" sldId="283"/>
            <ac:picMk id="5" creationId="{C0E0CE7E-BBD8-CEC1-88B4-77B2F94ED317}"/>
          </ac:picMkLst>
        </pc:picChg>
        <pc:picChg chg="mod">
          <ac:chgData name="Mauricio Pena" userId="e8c94f7e-bc6e-4c95-ac94-d3ff72f76780" providerId="ADAL" clId="{39891536-F118-4B6C-A07D-0605C1789588}" dt="2024-02-05T07:19:20.933" v="2" actId="29295"/>
          <ac:picMkLst>
            <pc:docMk/>
            <pc:sldMk cId="0" sldId="283"/>
            <ac:picMk id="6" creationId="{A5CC6D39-1ECB-F645-1AFE-2F0C03041A97}"/>
          </ac:picMkLst>
        </pc:picChg>
      </pc:sldChg>
      <pc:sldChg chg="del">
        <pc:chgData name="Mauricio Pena" userId="e8c94f7e-bc6e-4c95-ac94-d3ff72f76780" providerId="ADAL" clId="{39891536-F118-4B6C-A07D-0605C1789588}" dt="2024-02-05T06:35:03.787" v="0" actId="2696"/>
        <pc:sldMkLst>
          <pc:docMk/>
          <pc:sldMk cId="0" sldId="2416"/>
        </pc:sldMkLst>
      </pc:sldChg>
      <pc:sldChg chg="modSp mod">
        <pc:chgData name="Mauricio Pena" userId="e8c94f7e-bc6e-4c95-ac94-d3ff72f76780" providerId="ADAL" clId="{39891536-F118-4B6C-A07D-0605C1789588}" dt="2024-02-05T07:36:15.469" v="177" actId="29295"/>
        <pc:sldMkLst>
          <pc:docMk/>
          <pc:sldMk cId="7716683" sldId="2522"/>
        </pc:sldMkLst>
        <pc:picChg chg="mod">
          <ac:chgData name="Mauricio Pena" userId="e8c94f7e-bc6e-4c95-ac94-d3ff72f76780" providerId="ADAL" clId="{39891536-F118-4B6C-A07D-0605C1789588}" dt="2024-02-05T07:36:15.469" v="177" actId="29295"/>
          <ac:picMkLst>
            <pc:docMk/>
            <pc:sldMk cId="7716683" sldId="2522"/>
            <ac:picMk id="5" creationId="{849B1DB3-ABE2-41EB-2AAD-57F4844462A0}"/>
          </ac:picMkLst>
        </pc:picChg>
      </pc:sldChg>
      <pc:sldChg chg="addSp delSp modSp mod">
        <pc:chgData name="Mauricio Pena" userId="e8c94f7e-bc6e-4c95-ac94-d3ff72f76780" providerId="ADAL" clId="{39891536-F118-4B6C-A07D-0605C1789588}" dt="2024-02-05T07:35:33.565" v="175" actId="1036"/>
        <pc:sldMkLst>
          <pc:docMk/>
          <pc:sldMk cId="2337050587" sldId="2527"/>
        </pc:sldMkLst>
        <pc:spChg chg="mod">
          <ac:chgData name="Mauricio Pena" userId="e8c94f7e-bc6e-4c95-ac94-d3ff72f76780" providerId="ADAL" clId="{39891536-F118-4B6C-A07D-0605C1789588}" dt="2024-02-05T07:34:51.702" v="171" actId="1076"/>
          <ac:spMkLst>
            <pc:docMk/>
            <pc:sldMk cId="2337050587" sldId="2527"/>
            <ac:spMk id="3" creationId="{4082350C-0FD7-2CF3-676D-D04D446761D9}"/>
          </ac:spMkLst>
        </pc:spChg>
        <pc:spChg chg="mod">
          <ac:chgData name="Mauricio Pena" userId="e8c94f7e-bc6e-4c95-ac94-d3ff72f76780" providerId="ADAL" clId="{39891536-F118-4B6C-A07D-0605C1789588}" dt="2024-02-05T07:23:49.013" v="53" actId="404"/>
          <ac:spMkLst>
            <pc:docMk/>
            <pc:sldMk cId="2337050587" sldId="2527"/>
            <ac:spMk id="4" creationId="{B7DA9801-0835-4143-95FD-E14093FEC971}"/>
          </ac:spMkLst>
        </pc:spChg>
        <pc:spChg chg="mod">
          <ac:chgData name="Mauricio Pena" userId="e8c94f7e-bc6e-4c95-ac94-d3ff72f76780" providerId="ADAL" clId="{39891536-F118-4B6C-A07D-0605C1789588}" dt="2024-02-05T07:35:03.750" v="172" actId="1076"/>
          <ac:spMkLst>
            <pc:docMk/>
            <pc:sldMk cId="2337050587" sldId="2527"/>
            <ac:spMk id="6" creationId="{A94A8A2F-4E2F-8D4C-F9C4-C176DF8B99A2}"/>
          </ac:spMkLst>
        </pc:spChg>
        <pc:spChg chg="add del mod">
          <ac:chgData name="Mauricio Pena" userId="e8c94f7e-bc6e-4c95-ac94-d3ff72f76780" providerId="ADAL" clId="{39891536-F118-4B6C-A07D-0605C1789588}" dt="2024-02-05T07:35:18.995" v="173" actId="1076"/>
          <ac:spMkLst>
            <pc:docMk/>
            <pc:sldMk cId="2337050587" sldId="2527"/>
            <ac:spMk id="8" creationId="{4596D989-D6E9-2D7D-441B-79C05215E694}"/>
          </ac:spMkLst>
        </pc:spChg>
        <pc:spChg chg="add mod">
          <ac:chgData name="Mauricio Pena" userId="e8c94f7e-bc6e-4c95-ac94-d3ff72f76780" providerId="ADAL" clId="{39891536-F118-4B6C-A07D-0605C1789588}" dt="2024-02-05T07:24:29.186" v="59" actId="571"/>
          <ac:spMkLst>
            <pc:docMk/>
            <pc:sldMk cId="2337050587" sldId="2527"/>
            <ac:spMk id="10" creationId="{1C60C56B-76A2-7588-DC00-9EC91C9387E3}"/>
          </ac:spMkLst>
        </pc:spChg>
        <pc:spChg chg="add mod">
          <ac:chgData name="Mauricio Pena" userId="e8c94f7e-bc6e-4c95-ac94-d3ff72f76780" providerId="ADAL" clId="{39891536-F118-4B6C-A07D-0605C1789588}" dt="2024-02-05T07:24:29.186" v="59" actId="571"/>
          <ac:spMkLst>
            <pc:docMk/>
            <pc:sldMk cId="2337050587" sldId="2527"/>
            <ac:spMk id="11" creationId="{A514142B-8073-B2CA-2B2D-99D60F2D9CEE}"/>
          </ac:spMkLst>
        </pc:spChg>
        <pc:spChg chg="add mod">
          <ac:chgData name="Mauricio Pena" userId="e8c94f7e-bc6e-4c95-ac94-d3ff72f76780" providerId="ADAL" clId="{39891536-F118-4B6C-A07D-0605C1789588}" dt="2024-02-05T07:24:29.186" v="59" actId="571"/>
          <ac:spMkLst>
            <pc:docMk/>
            <pc:sldMk cId="2337050587" sldId="2527"/>
            <ac:spMk id="12" creationId="{23F7B1AD-748C-1061-E779-74132E97E347}"/>
          </ac:spMkLst>
        </pc:spChg>
        <pc:spChg chg="add mod">
          <ac:chgData name="Mauricio Pena" userId="e8c94f7e-bc6e-4c95-ac94-d3ff72f76780" providerId="ADAL" clId="{39891536-F118-4B6C-A07D-0605C1789588}" dt="2024-02-05T07:24:29.186" v="59" actId="571"/>
          <ac:spMkLst>
            <pc:docMk/>
            <pc:sldMk cId="2337050587" sldId="2527"/>
            <ac:spMk id="14" creationId="{70DADC80-1237-2078-5055-5C968B0F96B7}"/>
          </ac:spMkLst>
        </pc:spChg>
        <pc:spChg chg="add mod">
          <ac:chgData name="Mauricio Pena" userId="e8c94f7e-bc6e-4c95-ac94-d3ff72f76780" providerId="ADAL" clId="{39891536-F118-4B6C-A07D-0605C1789588}" dt="2024-02-05T07:24:29.186" v="59" actId="571"/>
          <ac:spMkLst>
            <pc:docMk/>
            <pc:sldMk cId="2337050587" sldId="2527"/>
            <ac:spMk id="15" creationId="{FE56673D-B586-A072-510F-1A5BF4924842}"/>
          </ac:spMkLst>
        </pc:spChg>
        <pc:spChg chg="add del mod topLvl">
          <ac:chgData name="Mauricio Pena" userId="e8c94f7e-bc6e-4c95-ac94-d3ff72f76780" providerId="ADAL" clId="{39891536-F118-4B6C-A07D-0605C1789588}" dt="2024-02-05T07:28:06.600" v="103" actId="478"/>
          <ac:spMkLst>
            <pc:docMk/>
            <pc:sldMk cId="2337050587" sldId="2527"/>
            <ac:spMk id="16" creationId="{8930029B-3362-CF43-07E7-418E3437FA0C}"/>
          </ac:spMkLst>
        </pc:spChg>
        <pc:spChg chg="add del mod topLvl">
          <ac:chgData name="Mauricio Pena" userId="e8c94f7e-bc6e-4c95-ac94-d3ff72f76780" providerId="ADAL" clId="{39891536-F118-4B6C-A07D-0605C1789588}" dt="2024-02-05T07:28:04.291" v="101" actId="478"/>
          <ac:spMkLst>
            <pc:docMk/>
            <pc:sldMk cId="2337050587" sldId="2527"/>
            <ac:spMk id="17" creationId="{FA33F5BF-2959-34F4-6B8B-54D10D33EF1E}"/>
          </ac:spMkLst>
        </pc:spChg>
        <pc:spChg chg="add del mod">
          <ac:chgData name="Mauricio Pena" userId="e8c94f7e-bc6e-4c95-ac94-d3ff72f76780" providerId="ADAL" clId="{39891536-F118-4B6C-A07D-0605C1789588}" dt="2024-02-05T07:27:04.070" v="82" actId="478"/>
          <ac:spMkLst>
            <pc:docMk/>
            <pc:sldMk cId="2337050587" sldId="2527"/>
            <ac:spMk id="19" creationId="{4CD04A85-4CA8-34B8-50E9-5810F3B2EA21}"/>
          </ac:spMkLst>
        </pc:spChg>
        <pc:spChg chg="add del mod">
          <ac:chgData name="Mauricio Pena" userId="e8c94f7e-bc6e-4c95-ac94-d3ff72f76780" providerId="ADAL" clId="{39891536-F118-4B6C-A07D-0605C1789588}" dt="2024-02-05T07:27:01.670" v="81" actId="478"/>
          <ac:spMkLst>
            <pc:docMk/>
            <pc:sldMk cId="2337050587" sldId="2527"/>
            <ac:spMk id="20" creationId="{D44D472D-4B9E-2800-660E-9428AC71F323}"/>
          </ac:spMkLst>
        </pc:spChg>
        <pc:spChg chg="add del mod">
          <ac:chgData name="Mauricio Pena" userId="e8c94f7e-bc6e-4c95-ac94-d3ff72f76780" providerId="ADAL" clId="{39891536-F118-4B6C-A07D-0605C1789588}" dt="2024-02-05T07:27:06.134" v="83" actId="478"/>
          <ac:spMkLst>
            <pc:docMk/>
            <pc:sldMk cId="2337050587" sldId="2527"/>
            <ac:spMk id="21" creationId="{657954D2-2CC9-DAB4-41FA-A268C3A1030C}"/>
          </ac:spMkLst>
        </pc:spChg>
        <pc:spChg chg="add del mod">
          <ac:chgData name="Mauricio Pena" userId="e8c94f7e-bc6e-4c95-ac94-d3ff72f76780" providerId="ADAL" clId="{39891536-F118-4B6C-A07D-0605C1789588}" dt="2024-02-05T07:27:23.511" v="90" actId="478"/>
          <ac:spMkLst>
            <pc:docMk/>
            <pc:sldMk cId="2337050587" sldId="2527"/>
            <ac:spMk id="25" creationId="{AFC6D7AA-4532-6787-AE2B-9F7CA0DEC878}"/>
          </ac:spMkLst>
        </pc:spChg>
        <pc:spChg chg="add del mod">
          <ac:chgData name="Mauricio Pena" userId="e8c94f7e-bc6e-4c95-ac94-d3ff72f76780" providerId="ADAL" clId="{39891536-F118-4B6C-A07D-0605C1789588}" dt="2024-02-05T07:27:20.774" v="89" actId="478"/>
          <ac:spMkLst>
            <pc:docMk/>
            <pc:sldMk cId="2337050587" sldId="2527"/>
            <ac:spMk id="26" creationId="{CA273F94-5185-8CE4-6732-66E703A2D014}"/>
          </ac:spMkLst>
        </pc:spChg>
        <pc:spChg chg="add del mod">
          <ac:chgData name="Mauricio Pena" userId="e8c94f7e-bc6e-4c95-ac94-d3ff72f76780" providerId="ADAL" clId="{39891536-F118-4B6C-A07D-0605C1789588}" dt="2024-02-05T07:27:14.629" v="86" actId="478"/>
          <ac:spMkLst>
            <pc:docMk/>
            <pc:sldMk cId="2337050587" sldId="2527"/>
            <ac:spMk id="27" creationId="{6A281FC7-957A-6D77-7C91-8860D2F30F80}"/>
          </ac:spMkLst>
        </pc:spChg>
        <pc:spChg chg="mod">
          <ac:chgData name="Mauricio Pena" userId="e8c94f7e-bc6e-4c95-ac94-d3ff72f76780" providerId="ADAL" clId="{39891536-F118-4B6C-A07D-0605C1789588}" dt="2024-02-05T07:29:42.294" v="117" actId="1076"/>
          <ac:spMkLst>
            <pc:docMk/>
            <pc:sldMk cId="2337050587" sldId="2527"/>
            <ac:spMk id="56" creationId="{925DB842-37D1-4115-97D2-20C87069CC34}"/>
          </ac:spMkLst>
        </pc:spChg>
        <pc:spChg chg="mod">
          <ac:chgData name="Mauricio Pena" userId="e8c94f7e-bc6e-4c95-ac94-d3ff72f76780" providerId="ADAL" clId="{39891536-F118-4B6C-A07D-0605C1789588}" dt="2024-02-05T07:29:07.857" v="113" actId="1076"/>
          <ac:spMkLst>
            <pc:docMk/>
            <pc:sldMk cId="2337050587" sldId="2527"/>
            <ac:spMk id="57" creationId="{C2663665-9B22-4B68-82D7-634FD0D718E0}"/>
          </ac:spMkLst>
        </pc:spChg>
        <pc:spChg chg="add del mod topLvl">
          <ac:chgData name="Mauricio Pena" userId="e8c94f7e-bc6e-4c95-ac94-d3ff72f76780" providerId="ADAL" clId="{39891536-F118-4B6C-A07D-0605C1789588}" dt="2024-02-05T07:34:37.024" v="169" actId="1076"/>
          <ac:spMkLst>
            <pc:docMk/>
            <pc:sldMk cId="2337050587" sldId="2527"/>
            <ac:spMk id="58" creationId="{C3A9EE8E-EBC8-40E8-A7C4-EB5621D3DABC}"/>
          </ac:spMkLst>
        </pc:spChg>
        <pc:spChg chg="mod">
          <ac:chgData name="Mauricio Pena" userId="e8c94f7e-bc6e-4c95-ac94-d3ff72f76780" providerId="ADAL" clId="{39891536-F118-4B6C-A07D-0605C1789588}" dt="2024-02-05T07:29:42.294" v="117" actId="1076"/>
          <ac:spMkLst>
            <pc:docMk/>
            <pc:sldMk cId="2337050587" sldId="2527"/>
            <ac:spMk id="66" creationId="{3D831979-D07B-4422-BAC6-4B631015F64B}"/>
          </ac:spMkLst>
        </pc:spChg>
        <pc:spChg chg="mod">
          <ac:chgData name="Mauricio Pena" userId="e8c94f7e-bc6e-4c95-ac94-d3ff72f76780" providerId="ADAL" clId="{39891536-F118-4B6C-A07D-0605C1789588}" dt="2024-02-05T07:29:17.679" v="115" actId="14100"/>
          <ac:spMkLst>
            <pc:docMk/>
            <pc:sldMk cId="2337050587" sldId="2527"/>
            <ac:spMk id="67" creationId="{46D81B90-49B1-4C90-A06B-94DEFC5BE405}"/>
          </ac:spMkLst>
        </pc:spChg>
        <pc:spChg chg="mod">
          <ac:chgData name="Mauricio Pena" userId="e8c94f7e-bc6e-4c95-ac94-d3ff72f76780" providerId="ADAL" clId="{39891536-F118-4B6C-A07D-0605C1789588}" dt="2024-02-05T07:29:07.857" v="113" actId="1076"/>
          <ac:spMkLst>
            <pc:docMk/>
            <pc:sldMk cId="2337050587" sldId="2527"/>
            <ac:spMk id="68" creationId="{28AFF06C-A63A-4A40-A0DB-6AAE5F7CC0FB}"/>
          </ac:spMkLst>
        </pc:spChg>
        <pc:spChg chg="mod">
          <ac:chgData name="Mauricio Pena" userId="e8c94f7e-bc6e-4c95-ac94-d3ff72f76780" providerId="ADAL" clId="{39891536-F118-4B6C-A07D-0605C1789588}" dt="2024-02-05T07:34:37.024" v="169" actId="1076"/>
          <ac:spMkLst>
            <pc:docMk/>
            <pc:sldMk cId="2337050587" sldId="2527"/>
            <ac:spMk id="84" creationId="{258D11DF-8BF5-4555-A8BE-C65DF9D11B9D}"/>
          </ac:spMkLst>
        </pc:spChg>
        <pc:grpChg chg="add del mod">
          <ac:chgData name="Mauricio Pena" userId="e8c94f7e-bc6e-4c95-ac94-d3ff72f76780" providerId="ADAL" clId="{39891536-F118-4B6C-A07D-0605C1789588}" dt="2024-02-05T07:27:58.143" v="99" actId="165"/>
          <ac:grpSpMkLst>
            <pc:docMk/>
            <pc:sldMk cId="2337050587" sldId="2527"/>
            <ac:grpSpMk id="28" creationId="{DED27C28-5D6F-437B-7C8D-FCCA8158DE1E}"/>
          </ac:grpSpMkLst>
        </pc:grpChg>
        <pc:grpChg chg="add del mod">
          <ac:chgData name="Mauricio Pena" userId="e8c94f7e-bc6e-4c95-ac94-d3ff72f76780" providerId="ADAL" clId="{39891536-F118-4B6C-A07D-0605C1789588}" dt="2024-02-05T07:25:08.471" v="64" actId="165"/>
          <ac:grpSpMkLst>
            <pc:docMk/>
            <pc:sldMk cId="2337050587" sldId="2527"/>
            <ac:grpSpMk id="60" creationId="{58C77DFA-A2CA-45FD-9544-D45FCEFD5B0F}"/>
          </ac:grpSpMkLst>
        </pc:grpChg>
        <pc:picChg chg="add mod">
          <ac:chgData name="Mauricio Pena" userId="e8c94f7e-bc6e-4c95-ac94-d3ff72f76780" providerId="ADAL" clId="{39891536-F118-4B6C-A07D-0605C1789588}" dt="2024-02-05T07:24:29.186" v="59" actId="571"/>
          <ac:picMkLst>
            <pc:docMk/>
            <pc:sldMk cId="2337050587" sldId="2527"/>
            <ac:picMk id="13" creationId="{CC8BEF87-8D6C-2A3E-5503-BF6CBECCF4E1}"/>
          </ac:picMkLst>
        </pc:picChg>
        <pc:picChg chg="add del mod">
          <ac:chgData name="Mauricio Pena" userId="e8c94f7e-bc6e-4c95-ac94-d3ff72f76780" providerId="ADAL" clId="{39891536-F118-4B6C-A07D-0605C1789588}" dt="2024-02-05T07:27:35.350" v="95" actId="478"/>
          <ac:picMkLst>
            <pc:docMk/>
            <pc:sldMk cId="2337050587" sldId="2527"/>
            <ac:picMk id="22" creationId="{4A4A1549-D90A-3A18-A021-7B478B25CF39}"/>
          </ac:picMkLst>
        </pc:picChg>
        <pc:picChg chg="add del mod">
          <ac:chgData name="Mauricio Pena" userId="e8c94f7e-bc6e-4c95-ac94-d3ff72f76780" providerId="ADAL" clId="{39891536-F118-4B6C-A07D-0605C1789588}" dt="2024-02-05T07:27:29.381" v="93" actId="478"/>
          <ac:picMkLst>
            <pc:docMk/>
            <pc:sldMk cId="2337050587" sldId="2527"/>
            <ac:picMk id="23" creationId="{A33A214C-24A9-338F-A1E9-02F34A5DEBB7}"/>
          </ac:picMkLst>
        </pc:picChg>
        <pc:picChg chg="add del mod">
          <ac:chgData name="Mauricio Pena" userId="e8c94f7e-bc6e-4c95-ac94-d3ff72f76780" providerId="ADAL" clId="{39891536-F118-4B6C-A07D-0605C1789588}" dt="2024-02-05T07:27:32.022" v="94" actId="478"/>
          <ac:picMkLst>
            <pc:docMk/>
            <pc:sldMk cId="2337050587" sldId="2527"/>
            <ac:picMk id="24" creationId="{5E32EACD-2CAC-CC1A-5405-013A029051A1}"/>
          </ac:picMkLst>
        </pc:picChg>
        <pc:picChg chg="add del mod">
          <ac:chgData name="Mauricio Pena" userId="e8c94f7e-bc6e-4c95-ac94-d3ff72f76780" providerId="ADAL" clId="{39891536-F118-4B6C-A07D-0605C1789588}" dt="2024-02-05T07:30:55.778" v="122" actId="1076"/>
          <ac:picMkLst>
            <pc:docMk/>
            <pc:sldMk cId="2337050587" sldId="2527"/>
            <ac:picMk id="106" creationId="{0E29B963-F830-446A-B2C0-681D351380EE}"/>
          </ac:picMkLst>
        </pc:picChg>
        <pc:picChg chg="mod">
          <ac:chgData name="Mauricio Pena" userId="e8c94f7e-bc6e-4c95-ac94-d3ff72f76780" providerId="ADAL" clId="{39891536-F118-4B6C-A07D-0605C1789588}" dt="2024-02-05T07:33:45.510" v="147" actId="1076"/>
          <ac:picMkLst>
            <pc:docMk/>
            <pc:sldMk cId="2337050587" sldId="2527"/>
            <ac:picMk id="108" creationId="{6F5BE68D-4A64-416A-BC4A-77425D374F3D}"/>
          </ac:picMkLst>
        </pc:picChg>
        <pc:picChg chg="mod">
          <ac:chgData name="Mauricio Pena" userId="e8c94f7e-bc6e-4c95-ac94-d3ff72f76780" providerId="ADAL" clId="{39891536-F118-4B6C-A07D-0605C1789588}" dt="2024-02-05T07:34:43.160" v="170" actId="1076"/>
          <ac:picMkLst>
            <pc:docMk/>
            <pc:sldMk cId="2337050587" sldId="2527"/>
            <ac:picMk id="109" creationId="{4CF713F9-618F-46E0-BBA5-8C15CB461D37}"/>
          </ac:picMkLst>
        </pc:picChg>
        <pc:cxnChg chg="add del mod topLvl">
          <ac:chgData name="Mauricio Pena" userId="e8c94f7e-bc6e-4c95-ac94-d3ff72f76780" providerId="ADAL" clId="{39891536-F118-4B6C-A07D-0605C1789588}" dt="2024-02-05T07:28:03.143" v="100" actId="478"/>
          <ac:cxnSpMkLst>
            <pc:docMk/>
            <pc:sldMk cId="2337050587" sldId="2527"/>
            <ac:cxnSpMk id="18" creationId="{F6454841-5D6C-D56B-3EDE-C538B675CD4A}"/>
          </ac:cxnSpMkLst>
        </pc:cxnChg>
        <pc:cxnChg chg="add del mod topLvl">
          <ac:chgData name="Mauricio Pena" userId="e8c94f7e-bc6e-4c95-ac94-d3ff72f76780" providerId="ADAL" clId="{39891536-F118-4B6C-A07D-0605C1789588}" dt="2024-02-05T07:34:06.232" v="157" actId="1037"/>
          <ac:cxnSpMkLst>
            <pc:docMk/>
            <pc:sldMk cId="2337050587" sldId="2527"/>
            <ac:cxnSpMk id="61" creationId="{CF325144-0920-4C28-B175-22E182C0E139}"/>
          </ac:cxnSpMkLst>
        </pc:cxnChg>
        <pc:cxnChg chg="add del mod topLvl">
          <ac:chgData name="Mauricio Pena" userId="e8c94f7e-bc6e-4c95-ac94-d3ff72f76780" providerId="ADAL" clId="{39891536-F118-4B6C-A07D-0605C1789588}" dt="2024-02-05T07:35:33.565" v="175" actId="1036"/>
          <ac:cxnSpMkLst>
            <pc:docMk/>
            <pc:sldMk cId="2337050587" sldId="2527"/>
            <ac:cxnSpMk id="62" creationId="{2AD0081B-8449-462A-B4F5-2FA7BEF44EF7}"/>
          </ac:cxnSpMkLst>
        </pc:cxnChg>
        <pc:cxnChg chg="add del mod topLvl">
          <ac:chgData name="Mauricio Pena" userId="e8c94f7e-bc6e-4c95-ac94-d3ff72f76780" providerId="ADAL" clId="{39891536-F118-4B6C-A07D-0605C1789588}" dt="2024-02-05T07:25:11.447" v="65" actId="478"/>
          <ac:cxnSpMkLst>
            <pc:docMk/>
            <pc:sldMk cId="2337050587" sldId="2527"/>
            <ac:cxnSpMk id="63" creationId="{DF3B4036-43C9-4925-B1FE-8DC524B9EF41}"/>
          </ac:cxnSpMkLst>
        </pc:cxnChg>
      </pc:sldChg>
    </pc:docChg>
  </pc:docChgLst>
  <pc:docChgLst>
    <pc:chgData name="Mauricio Pena" userId="e8c94f7e-bc6e-4c95-ac94-d3ff72f76780" providerId="ADAL" clId="{19930F4F-2E31-4E70-8056-3527C52813B0}"/>
    <pc:docChg chg="modSld">
      <pc:chgData name="Mauricio Pena" userId="e8c94f7e-bc6e-4c95-ac94-d3ff72f76780" providerId="ADAL" clId="{19930F4F-2E31-4E70-8056-3527C52813B0}" dt="2024-02-19T12:54:56.710" v="34" actId="6549"/>
      <pc:docMkLst>
        <pc:docMk/>
      </pc:docMkLst>
      <pc:sldChg chg="modSp mod">
        <pc:chgData name="Mauricio Pena" userId="e8c94f7e-bc6e-4c95-ac94-d3ff72f76780" providerId="ADAL" clId="{19930F4F-2E31-4E70-8056-3527C52813B0}" dt="2024-02-19T12:54:56.710" v="34" actId="6549"/>
        <pc:sldMkLst>
          <pc:docMk/>
          <pc:sldMk cId="0" sldId="283"/>
        </pc:sldMkLst>
        <pc:spChg chg="mod">
          <ac:chgData name="Mauricio Pena" userId="e8c94f7e-bc6e-4c95-ac94-d3ff72f76780" providerId="ADAL" clId="{19930F4F-2E31-4E70-8056-3527C52813B0}" dt="2024-02-19T12:54:56.710" v="34" actId="6549"/>
          <ac:spMkLst>
            <pc:docMk/>
            <pc:sldMk cId="0" sldId="283"/>
            <ac:spMk id="3" creationId="{18565701-498B-4BA6-9AF2-C14C63DAE209}"/>
          </ac:spMkLst>
        </pc:spChg>
      </pc:sldChg>
    </pc:docChg>
  </pc:docChgLst>
  <pc:docChgLst>
    <pc:chgData name="Suleiman Mesto" userId="S::mesto.suleiman@es.sika.com::b079e64d-10fa-49c0-aa6b-01f372729768" providerId="AD" clId="Web-{2E198718-A887-44C9-887F-EE5FFF307D3A}"/>
    <pc:docChg chg="modSld">
      <pc:chgData name="Suleiman Mesto" userId="S::mesto.suleiman@es.sika.com::b079e64d-10fa-49c0-aa6b-01f372729768" providerId="AD" clId="Web-{2E198718-A887-44C9-887F-EE5FFF307D3A}" dt="2023-03-27T06:29:20.434" v="36" actId="20577"/>
      <pc:docMkLst>
        <pc:docMk/>
      </pc:docMkLst>
      <pc:sldChg chg="addSp delSp modSp">
        <pc:chgData name="Suleiman Mesto" userId="S::mesto.suleiman@es.sika.com::b079e64d-10fa-49c0-aa6b-01f372729768" providerId="AD" clId="Web-{2E198718-A887-44C9-887F-EE5FFF307D3A}" dt="2023-03-27T06:27:55.978" v="22"/>
        <pc:sldMkLst>
          <pc:docMk/>
          <pc:sldMk cId="0" sldId="283"/>
        </pc:sldMkLst>
        <pc:spChg chg="mod">
          <ac:chgData name="Suleiman Mesto" userId="S::mesto.suleiman@es.sika.com::b079e64d-10fa-49c0-aa6b-01f372729768" providerId="AD" clId="Web-{2E198718-A887-44C9-887F-EE5FFF307D3A}" dt="2023-03-27T06:12:07.899" v="7" actId="20577"/>
          <ac:spMkLst>
            <pc:docMk/>
            <pc:sldMk cId="0" sldId="283"/>
            <ac:spMk id="3" creationId="{18565701-498B-4BA6-9AF2-C14C63DAE209}"/>
          </ac:spMkLst>
        </pc:spChg>
        <pc:spChg chg="add mod">
          <ac:chgData name="Suleiman Mesto" userId="S::mesto.suleiman@es.sika.com::b079e64d-10fa-49c0-aa6b-01f372729768" providerId="AD" clId="Web-{2E198718-A887-44C9-887F-EE5FFF307D3A}" dt="2023-03-27T06:27:55.978" v="22"/>
          <ac:spMkLst>
            <pc:docMk/>
            <pc:sldMk cId="0" sldId="283"/>
            <ac:spMk id="9" creationId="{7D9D145E-B543-77B7-AACB-76D3B5B77392}"/>
          </ac:spMkLst>
        </pc:spChg>
        <pc:picChg chg="add del mod">
          <ac:chgData name="Suleiman Mesto" userId="S::mesto.suleiman@es.sika.com::b079e64d-10fa-49c0-aa6b-01f372729768" providerId="AD" clId="Web-{2E198718-A887-44C9-887F-EE5FFF307D3A}" dt="2023-03-27T06:12:30.478" v="10"/>
          <ac:picMkLst>
            <pc:docMk/>
            <pc:sldMk cId="0" sldId="283"/>
            <ac:picMk id="5" creationId="{C2CE7DAA-5FE5-39B4-985B-F722597984DC}"/>
          </ac:picMkLst>
        </pc:picChg>
        <pc:picChg chg="add mod ord modCrop">
          <ac:chgData name="Suleiman Mesto" userId="S::mesto.suleiman@es.sika.com::b079e64d-10fa-49c0-aa6b-01f372729768" providerId="AD" clId="Web-{2E198718-A887-44C9-887F-EE5FFF307D3A}" dt="2023-03-27T06:27:54.368" v="21"/>
          <ac:picMkLst>
            <pc:docMk/>
            <pc:sldMk cId="0" sldId="283"/>
            <ac:picMk id="6" creationId="{A5CC6D39-1ECB-F645-1AFE-2F0C03041A97}"/>
          </ac:picMkLst>
        </pc:picChg>
        <pc:picChg chg="del">
          <ac:chgData name="Suleiman Mesto" userId="S::mesto.suleiman@es.sika.com::b079e64d-10fa-49c0-aa6b-01f372729768" providerId="AD" clId="Web-{2E198718-A887-44C9-887F-EE5FFF307D3A}" dt="2023-03-27T06:27:55.978" v="22"/>
          <ac:picMkLst>
            <pc:docMk/>
            <pc:sldMk cId="0" sldId="283"/>
            <ac:picMk id="17412" creationId="{88669900-EA06-4698-B1E9-D5AC5E4AFAE5}"/>
          </ac:picMkLst>
        </pc:picChg>
      </pc:sldChg>
      <pc:sldChg chg="mod modShow">
        <pc:chgData name="Suleiman Mesto" userId="S::mesto.suleiman@es.sika.com::b079e64d-10fa-49c0-aa6b-01f372729768" providerId="AD" clId="Web-{2E198718-A887-44C9-887F-EE5FFF307D3A}" dt="2023-03-27T06:28:24.057" v="23"/>
        <pc:sldMkLst>
          <pc:docMk/>
          <pc:sldMk cId="0" sldId="2416"/>
        </pc:sldMkLst>
      </pc:sldChg>
      <pc:sldChg chg="modSp">
        <pc:chgData name="Suleiman Mesto" userId="S::mesto.suleiman@es.sika.com::b079e64d-10fa-49c0-aa6b-01f372729768" providerId="AD" clId="Web-{2E198718-A887-44C9-887F-EE5FFF307D3A}" dt="2023-03-27T06:29:20.434" v="36" actId="20577"/>
        <pc:sldMkLst>
          <pc:docMk/>
          <pc:sldMk cId="2681821491" sldId="2449"/>
        </pc:sldMkLst>
        <pc:spChg chg="mod">
          <ac:chgData name="Suleiman Mesto" userId="S::mesto.suleiman@es.sika.com::b079e64d-10fa-49c0-aa6b-01f372729768" providerId="AD" clId="Web-{2E198718-A887-44C9-887F-EE5FFF307D3A}" dt="2023-03-27T06:28:51.620" v="33" actId="20577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Suleiman Mesto" userId="S::mesto.suleiman@es.sika.com::b079e64d-10fa-49c0-aa6b-01f372729768" providerId="AD" clId="Web-{2E198718-A887-44C9-887F-EE5FFF307D3A}" dt="2023-03-27T06:29:20.434" v="36" actId="20577"/>
          <ac:spMkLst>
            <pc:docMk/>
            <pc:sldMk cId="2681821491" sldId="2449"/>
            <ac:spMk id="59" creationId="{CBF42CAE-8FD1-403C-A71F-CA56A9EE0447}"/>
          </ac:spMkLst>
        </pc:spChg>
      </pc:sldChg>
    </pc:docChg>
  </pc:docChgLst>
  <pc:docChgLst>
    <pc:chgData name="Suleiman Mesto" userId="b079e64d-10fa-49c0-aa6b-01f372729768" providerId="ADAL" clId="{3121A606-74DC-4800-9065-FF97673C00C0}"/>
    <pc:docChg chg="modSld">
      <pc:chgData name="Suleiman Mesto" userId="b079e64d-10fa-49c0-aa6b-01f372729768" providerId="ADAL" clId="{3121A606-74DC-4800-9065-FF97673C00C0}" dt="2023-03-27T06:04:13.512" v="0" actId="20577"/>
      <pc:docMkLst>
        <pc:docMk/>
      </pc:docMkLst>
      <pc:sldChg chg="modSp mod">
        <pc:chgData name="Suleiman Mesto" userId="b079e64d-10fa-49c0-aa6b-01f372729768" providerId="ADAL" clId="{3121A606-74DC-4800-9065-FF97673C00C0}" dt="2023-03-27T06:04:13.512" v="0" actId="20577"/>
        <pc:sldMkLst>
          <pc:docMk/>
          <pc:sldMk cId="0" sldId="283"/>
        </pc:sldMkLst>
        <pc:spChg chg="mod">
          <ac:chgData name="Suleiman Mesto" userId="b079e64d-10fa-49c0-aa6b-01f372729768" providerId="ADAL" clId="{3121A606-74DC-4800-9065-FF97673C00C0}" dt="2023-03-27T06:04:13.512" v="0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79CF668-8A71-4852-B1C6-189A428EC9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DE33A9-3A4C-4003-BEF3-5C633B9F32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BDC053-37CC-451C-B25E-536C9D181DBA}" type="datetimeFigureOut">
              <a:rPr lang="en-GB"/>
              <a:pPr>
                <a:defRPr/>
              </a:pPr>
              <a:t>19/02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9C9659-80CA-4A8F-8B39-4245EF8281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602B3B-96BB-4053-91CC-1BD6127DFD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5CD9755-2BB0-4E14-97AB-C7DBD5FDDFF0}" type="slidenum">
              <a:rPr lang="en-GB" altLang="de-DE"/>
              <a:pPr/>
              <a:t>‹Nº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D7AEBDE-3559-4B5B-8FD3-76938AE153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90CD32-1133-485E-9225-52699F5364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80844B-102C-45A5-8C4D-58AAC96BDA2E}" type="datetimeFigureOut">
              <a:rPr lang="en-US"/>
              <a:pPr>
                <a:defRPr/>
              </a:pPr>
              <a:t>2/19/2024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B6E98B9-DA66-46F0-B128-9F4C2FFF27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1F8BECA9-60B4-45C9-9AAD-05E73D354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DCC354-FDD6-478D-B31D-9B08A12A3E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E93CAD-1AA5-44AE-811D-394E06E9E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01542E-203C-4324-AAF3-23D55ACB5D19}" type="slidenum">
              <a:rPr lang="en-US" altLang="de-DE"/>
              <a:pPr/>
              <a:t>‹Nº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3725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94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1F4AC709-4F2D-400E-8D2E-9DA64FA32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288000" y="195263"/>
            <a:ext cx="8607600" cy="1998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2276101"/>
            <a:ext cx="8607600" cy="40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>
                <a:latin typeface="Calibri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2697300"/>
            <a:ext cx="86076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 marL="1630362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1898650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168525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2436813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2310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3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52759"/>
            <a:ext cx="8604000" cy="1350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287337" y="915988"/>
            <a:ext cx="4213226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4679951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4AC2757-4953-BFA0-5346-43D2F2F794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1C77C9D4-BDCB-78B1-696A-4B45350DF7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4679952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4679949" y="2859087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71230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1AF75EC-1BFC-EC31-D1A2-9899BE531CC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7274123F-33CC-177C-F2FC-D882814E18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1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9DE1919C-9D33-3029-1325-2A1EFD35CD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7FFAECDA-34C8-186D-500A-359D24BB23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79949" y="2859088"/>
            <a:ext cx="4212530" cy="17105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891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horizonta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EBFD3CE-66E8-4D85-4C1D-FEE3708BA2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A59C584C-8161-2AAB-131C-5A06800DC5D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2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13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4" y="915988"/>
            <a:ext cx="4212468" cy="3653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4680012" y="915988"/>
            <a:ext cx="4210050" cy="36537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287521" y="915520"/>
            <a:ext cx="2015941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2484885" y="915988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4680520" y="915520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6877050" y="915520"/>
            <a:ext cx="2016125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0AB4D4D4-D0F6-0DC7-7FBB-9EB7509C5A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87521" y="915519"/>
            <a:ext cx="2015941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1E827F77-E3D8-9C1F-6FCD-8E55B7A5EE7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484885" y="915988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E42C4BA7-01D1-1434-0872-A9B3DBF4C3E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80520" y="915520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BC4949FA-109D-12FB-D3E5-A70DBD3C8C1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77050" y="915520"/>
            <a:ext cx="2016125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514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2FC30D2F-5EF7-4932-8B7C-1BD7A35F9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88000" y="195262"/>
            <a:ext cx="8604000" cy="297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3253500"/>
            <a:ext cx="8604000" cy="39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8104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A89E5FD-8F46-17EE-70DE-E7CA699C6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75310"/>
            <a:ext cx="8605837" cy="322106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  <p:sp>
        <p:nvSpPr>
          <p:cNvPr id="3" name="Foliennummernplatzhalter 5" hidden="1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Grau">
            <a:extLst>
              <a:ext uri="{FF2B5EF4-FFF2-40B4-BE49-F238E27FC236}">
                <a16:creationId xmlns:a16="http://schemas.microsoft.com/office/drawing/2014/main" id="{80C2016B-2893-1155-0FA0-EDB765A844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482366"/>
            <a:ext cx="8605837" cy="322106"/>
          </a:xfr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lang="de-CH" sz="2400" kern="1200" cap="all" dirty="0">
                <a:solidFill>
                  <a:srgbClr val="7C7C7C"/>
                </a:solidFill>
                <a:latin typeface="+mj-lt"/>
                <a:ea typeface="+mj-ea"/>
                <a:cs typeface="+mj-cs"/>
              </a:defRPr>
            </a:lvl1pPr>
            <a:lvl2pPr marL="261938" indent="0">
              <a:buNone/>
              <a:defRPr sz="1100"/>
            </a:lvl2pPr>
            <a:lvl3pPr marL="534988" indent="0">
              <a:buFont typeface="Arial" panose="020B0604020202020204" pitchFamily="34" charset="0"/>
              <a:buNone/>
              <a:defRPr sz="1100"/>
            </a:lvl3pPr>
            <a:lvl4pPr marL="809625" indent="0">
              <a:buNone/>
              <a:defRPr sz="1100"/>
            </a:lvl4pPr>
            <a:lvl5pPr marL="1062038" indent="0">
              <a:buNone/>
              <a:defRPr sz="1100"/>
            </a:lvl5pPr>
          </a:lstStyle>
          <a:p>
            <a:pPr lvl="0"/>
            <a:r>
              <a:rPr lang="de-DE" err="1"/>
              <a:t>click</a:t>
            </a:r>
            <a:r>
              <a:rPr lang="de-DE"/>
              <a:t> to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21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3" y="915989"/>
            <a:ext cx="6408552" cy="36536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6877051" y="915988"/>
            <a:ext cx="2016125" cy="3653631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400" kern="100" baseline="0">
                <a:latin typeface="+mn-lt"/>
              </a:defRPr>
            </a:lvl1pPr>
            <a:lvl2pPr marL="36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2pPr>
            <a:lvl3pPr marL="54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3pPr>
            <a:lvl4pPr marL="72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400" kern="100">
                <a:latin typeface="+mn-lt"/>
              </a:defRPr>
            </a:lvl4pPr>
            <a:lvl5pPr marL="900000" indent="-180000">
              <a:lnSpc>
                <a:spcPct val="90000"/>
              </a:lnSpc>
              <a:spcBef>
                <a:spcPts val="336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latin typeface="+mn-lt"/>
              </a:defRPr>
            </a:lvl5pPr>
            <a:lvl6pPr marL="1077913" indent="-180975">
              <a:lnSpc>
                <a:spcPct val="90000"/>
              </a:lnSpc>
              <a:spcBef>
                <a:spcPts val="336"/>
              </a:spcBef>
              <a:defRPr sz="1400"/>
            </a:lvl6pPr>
            <a:lvl7pPr marL="1260000" indent="-180000">
              <a:lnSpc>
                <a:spcPct val="90000"/>
              </a:lnSpc>
              <a:spcBef>
                <a:spcPts val="336"/>
              </a:spcBef>
              <a:defRPr sz="1400"/>
            </a:lvl7pPr>
            <a:lvl8pPr marL="1440000" indent="-180000">
              <a:lnSpc>
                <a:spcPct val="90000"/>
              </a:lnSpc>
              <a:spcBef>
                <a:spcPts val="336"/>
              </a:spcBef>
              <a:defRPr sz="1400"/>
            </a:lvl8pPr>
            <a:lvl9pPr marL="1620000" indent="-180000">
              <a:lnSpc>
                <a:spcPct val="90000"/>
              </a:lnSpc>
              <a:spcBef>
                <a:spcPts val="336"/>
              </a:spcBef>
              <a:defRPr sz="1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1C289D-604B-2CB6-CD46-8A45907E1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8288"/>
            <a:ext cx="8605837" cy="52387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CC041923-6713-43A3-8590-9A95951A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775" y="4433888"/>
            <a:ext cx="1549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286134" y="195486"/>
            <a:ext cx="8606346" cy="1998222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524" y="2281861"/>
            <a:ext cx="8604956" cy="3780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192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9874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45688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4946650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2857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23018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248443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44989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46799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66944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6875463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88915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103778" y="912100"/>
            <a:ext cx="6498895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4000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700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9E8EB93B-68C6-424A-BDDA-57F11FD6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FF8839E8-6956-4A90-9CAA-58865BA0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287338" y="1518632"/>
            <a:ext cx="8605142" cy="3050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457200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5207000" algn="r"/>
                <a:tab pos="6369050" algn="r"/>
              </a:tabLst>
              <a:defRPr sz="1800" b="1" i="0" kern="100" cap="all" baseline="0"/>
            </a:lvl1pPr>
            <a:lvl2pPr marL="742950" indent="-285750">
              <a:buClr>
                <a:srgbClr val="EFB900"/>
              </a:buClr>
              <a:buFont typeface="Wingdings" pitchFamily="2" charset="2"/>
              <a:buChar char="§"/>
              <a:defRPr sz="2000"/>
            </a:lvl2pPr>
            <a:lvl3pPr marL="1143000" indent="-228600">
              <a:buClr>
                <a:srgbClr val="EFB900"/>
              </a:buClr>
              <a:buFont typeface="Wingdings" pitchFamily="2" charset="2"/>
              <a:buChar char="§"/>
              <a:defRPr sz="2000"/>
            </a:lvl3pPr>
            <a:lvl4pPr marL="1600200" indent="-228600">
              <a:buClr>
                <a:srgbClr val="EFB900"/>
              </a:buClr>
              <a:buFont typeface="Wingdings" pitchFamily="2" charset="2"/>
              <a:buChar char="§"/>
              <a:defRPr sz="2000"/>
            </a:lvl4pPr>
            <a:lvl5pPr marL="2057400" indent="-228600">
              <a:buClr>
                <a:srgbClr val="EFB900"/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82C432C4-F03A-9354-DBB7-A30BF067F3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338" y="915988"/>
            <a:ext cx="8605837" cy="36544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28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5C9B2F54-7B5E-309F-F6A6-17BB44128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5F56939B-100C-7693-6068-68FBFF18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 b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25135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0712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4093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338" y="4921250"/>
            <a:ext cx="323850" cy="8096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FF8603F1-E04A-4D9F-8205-676DC5DF1FE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87338" y="915988"/>
            <a:ext cx="8605837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Mastertextformat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de-CH" altLang="en-US"/>
          </a:p>
        </p:txBody>
      </p:sp>
      <p:pic>
        <p:nvPicPr>
          <p:cNvPr id="1029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61725E52-18CA-4630-9CEC-3376C352E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4613275"/>
            <a:ext cx="12239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C6BA838-7AE6-5263-34BF-EB7404234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7" r:id="rId2"/>
    <p:sldLayoutId id="2147484019" r:id="rId3"/>
    <p:sldLayoutId id="2147484020" r:id="rId4"/>
    <p:sldLayoutId id="2147484009" r:id="rId5"/>
    <p:sldLayoutId id="2147484064" r:id="rId6"/>
    <p:sldLayoutId id="2147484021" r:id="rId7"/>
    <p:sldLayoutId id="2147484060" r:id="rId8"/>
    <p:sldLayoutId id="2147484059" r:id="rId9"/>
    <p:sldLayoutId id="2147484022" r:id="rId10"/>
    <p:sldLayoutId id="2147484023" r:id="rId11"/>
    <p:sldLayoutId id="2147484024" r:id="rId12"/>
    <p:sldLayoutId id="2147484010" r:id="rId13"/>
    <p:sldLayoutId id="2147484067" r:id="rId14"/>
    <p:sldLayoutId id="2147484066" r:id="rId15"/>
    <p:sldLayoutId id="2147484063" r:id="rId16"/>
    <p:sldLayoutId id="2147484011" r:id="rId17"/>
    <p:sldLayoutId id="2147484012" r:id="rId18"/>
    <p:sldLayoutId id="2147484065" r:id="rId19"/>
    <p:sldLayoutId id="2147484013" r:id="rId20"/>
    <p:sldLayoutId id="2147484062" r:id="rId21"/>
    <p:sldLayoutId id="2147484014" r:id="rId22"/>
    <p:sldLayoutId id="2147484025" r:id="rId23"/>
    <p:sldLayoutId id="2147484027" r:id="rId24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7">
            <a:extLst>
              <a:ext uri="{FF2B5EF4-FFF2-40B4-BE49-F238E27FC236}">
                <a16:creationId xmlns:a16="http://schemas.microsoft.com/office/drawing/2014/main" id="{A5CC6D39-1ECB-F645-1AFE-2F0C0304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91" b="26991"/>
          <a:stretch/>
        </p:blipFill>
        <p:spPr>
          <a:xfrm>
            <a:off x="288000" y="194659"/>
            <a:ext cx="8631630" cy="297907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GITALIZACIÓN: TM IMPERMEABILIZACIÓN 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6F9B195-5252-4190-852F-7CD19B5DE0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399601"/>
          </a:xfrm>
        </p:spPr>
        <p:txBody>
          <a:bodyPr/>
          <a:lstStyle/>
          <a:p>
            <a:r>
              <a:rPr lang="en-GB"/>
              <a:t>SIKA S.A.U. ESPAÑA 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72F36DA5-2921-8668-88B4-7B2CEBE3E63F}"/>
              </a:ext>
            </a:extLst>
          </p:cNvPr>
          <p:cNvSpPr txBox="1">
            <a:spLocks/>
          </p:cNvSpPr>
          <p:nvPr/>
        </p:nvSpPr>
        <p:spPr bwMode="auto">
          <a:xfrm>
            <a:off x="288000" y="4028930"/>
            <a:ext cx="6516688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Febrero</a:t>
            </a:r>
            <a:r>
              <a:rPr lang="en-GB" dirty="0"/>
              <a:t> 2024</a:t>
            </a:r>
          </a:p>
        </p:txBody>
      </p:sp>
      <p:pic>
        <p:nvPicPr>
          <p:cNvPr id="5" name="Imagen 4" descr="Imagen que contiene foto, vista, grande, pantalla&#10;&#10;Descripción generada automáticamente">
            <a:extLst>
              <a:ext uri="{FF2B5EF4-FFF2-40B4-BE49-F238E27FC236}">
                <a16:creationId xmlns:a16="http://schemas.microsoft.com/office/drawing/2014/main" id="{C0E0CE7E-BBD8-CEC1-88B4-77B2F94ED3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866" y="2571750"/>
            <a:ext cx="1187764" cy="595374"/>
          </a:xfrm>
          <a:prstGeom prst="rect">
            <a:avLst/>
          </a:prstGeom>
          <a:solidFill>
            <a:schemeClr val="accent1"/>
          </a:solidFill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CC1436C-60D4-A07F-BC7A-FCF9A06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82201"/>
            <a:ext cx="8605837" cy="523875"/>
          </a:xfrm>
        </p:spPr>
        <p:txBody>
          <a:bodyPr/>
          <a:lstStyle/>
          <a:p>
            <a:r>
              <a:rPr lang="es-ES" dirty="0"/>
              <a:t>ÍNDICE</a:t>
            </a:r>
          </a:p>
        </p:txBody>
      </p:sp>
      <p:grpSp>
        <p:nvGrpSpPr>
          <p:cNvPr id="2" name="Group 28">
            <a:extLst>
              <a:ext uri="{FF2B5EF4-FFF2-40B4-BE49-F238E27FC236}">
                <a16:creationId xmlns:a16="http://schemas.microsoft.com/office/drawing/2014/main" id="{0711241C-01E1-113A-6ADD-2FC7C65F188B}"/>
              </a:ext>
            </a:extLst>
          </p:cNvPr>
          <p:cNvGrpSpPr/>
          <p:nvPr/>
        </p:nvGrpSpPr>
        <p:grpSpPr>
          <a:xfrm>
            <a:off x="287338" y="686088"/>
            <a:ext cx="8419056" cy="467900"/>
            <a:chOff x="2266448" y="2990297"/>
            <a:chExt cx="6467544" cy="467900"/>
          </a:xfrm>
        </p:grpSpPr>
        <p:sp>
          <p:nvSpPr>
            <p:cNvPr id="5" name="TextBox 41">
              <a:extLst>
                <a:ext uri="{FF2B5EF4-FFF2-40B4-BE49-F238E27FC236}">
                  <a16:creationId xmlns:a16="http://schemas.microsoft.com/office/drawing/2014/main" id="{55E6ED9E-D640-81D1-AA07-B1D3C748A609}"/>
                </a:ext>
              </a:extLst>
            </p:cNvPr>
            <p:cNvSpPr txBox="1"/>
            <p:nvPr/>
          </p:nvSpPr>
          <p:spPr>
            <a:xfrm>
              <a:off x="2942792" y="3101137"/>
              <a:ext cx="5791200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latin typeface="+mn-lt"/>
                </a:rPr>
                <a:t>IMPERMEABILIZACIÓN			NÚMEROS DE OBJETOS</a:t>
              </a:r>
            </a:p>
          </p:txBody>
        </p:sp>
        <p:sp>
          <p:nvSpPr>
            <p:cNvPr id="6" name="Rectangle 42">
              <a:extLst>
                <a:ext uri="{FF2B5EF4-FFF2-40B4-BE49-F238E27FC236}">
                  <a16:creationId xmlns:a16="http://schemas.microsoft.com/office/drawing/2014/main" id="{84E721E3-03CA-AB4D-8147-48C44C3F9094}"/>
                </a:ext>
              </a:extLst>
            </p:cNvPr>
            <p:cNvSpPr/>
            <p:nvPr/>
          </p:nvSpPr>
          <p:spPr>
            <a:xfrm>
              <a:off x="2266448" y="2990297"/>
              <a:ext cx="524945" cy="467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01</a:t>
              </a:r>
              <a:endParaRPr lang="en-ID" b="1" dirty="0"/>
            </a:p>
          </p:txBody>
        </p: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7019796C-7145-51CA-BB17-18E3A40E714F}"/>
              </a:ext>
            </a:extLst>
          </p:cNvPr>
          <p:cNvSpPr txBox="1"/>
          <p:nvPr/>
        </p:nvSpPr>
        <p:spPr>
          <a:xfrm>
            <a:off x="549810" y="1234000"/>
            <a:ext cx="81565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1	</a:t>
            </a:r>
            <a:r>
              <a:rPr lang="es-ES" sz="1400" i="0" u="none" strike="noStrike" baseline="0" dirty="0">
                <a:latin typeface="Calibri" panose="020F0502020204030204" pitchFamily="34" charset="0"/>
                <a:hlinkClick r:id="rId2" action="ppaction://hlinksldjump"/>
              </a:rPr>
              <a:t>Sikadur-Combiflex® SG </a:t>
            </a:r>
            <a:r>
              <a:rPr lang="es-ES" sz="1400" i="0" u="none" strike="noStrike" baseline="0" dirty="0" err="1">
                <a:latin typeface="Calibri" panose="020F0502020204030204" pitchFamily="34" charset="0"/>
                <a:hlinkClick r:id="rId2" action="ppaction://hlinksldjump"/>
              </a:rPr>
              <a:t>System</a:t>
            </a:r>
            <a:r>
              <a:rPr lang="es-ES" sz="1400" dirty="0"/>
              <a:t>				1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2	</a:t>
            </a:r>
            <a:r>
              <a:rPr lang="es-ES" sz="1400" i="0" u="none" strike="noStrike" baseline="0" dirty="0">
                <a:latin typeface="Calibri" panose="020F0502020204030204" pitchFamily="34" charset="0"/>
                <a:hlinkClick r:id="rId2" action="ppaction://hlinksldjump"/>
              </a:rPr>
              <a:t>SikaProof® A+ </a:t>
            </a:r>
            <a:r>
              <a:rPr lang="es-ES" sz="1400" i="0" u="none" strike="noStrike" baseline="0" dirty="0" err="1">
                <a:latin typeface="Calibri" panose="020F0502020204030204" pitchFamily="34" charset="0"/>
                <a:hlinkClick r:id="rId2" action="ppaction://hlinksldjump"/>
              </a:rPr>
              <a:t>System</a:t>
            </a:r>
            <a:r>
              <a:rPr lang="es-ES" sz="1400" dirty="0"/>
              <a:t>					1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3	</a:t>
            </a:r>
            <a:r>
              <a:rPr lang="es-ES" sz="1400" i="0" u="none" strike="noStrike" baseline="0" dirty="0">
                <a:latin typeface="Calibri" panose="020F0502020204030204" pitchFamily="34" charset="0"/>
                <a:hlinkClick r:id="rId2" action="ppaction://hlinksldjump"/>
              </a:rPr>
              <a:t>SikaProof® P-1201 </a:t>
            </a:r>
            <a:r>
              <a:rPr lang="es-ES" sz="1400" i="0" u="none" strike="noStrike" baseline="0" dirty="0" err="1">
                <a:latin typeface="Calibri" panose="020F0502020204030204" pitchFamily="34" charset="0"/>
                <a:hlinkClick r:id="rId2" action="ppaction://hlinksldjump"/>
              </a:rPr>
              <a:t>System</a:t>
            </a:r>
            <a:r>
              <a:rPr lang="es-ES" sz="1400" dirty="0"/>
              <a:t>				1</a:t>
            </a:r>
            <a:endParaRPr lang="en-US" sz="900" dirty="0">
              <a:solidFill>
                <a:schemeClr val="bg1"/>
              </a:solidFill>
            </a:endParaRPr>
          </a:p>
          <a:p>
            <a:pPr marL="285750" indent="-285750" algn="l"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s-ES" sz="1400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D4668FE0-1203-3935-727B-0FFDC991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711AF-E905-4983-8248-7DD19E492DE7}" type="slidenum">
              <a:rPr lang="en-US" altLang="de-DE" smtClean="0"/>
              <a:pPr/>
              <a:t>2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50667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333927" y="1374007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0" u="none" strike="noStrike" baseline="0" dirty="0">
                <a:latin typeface="Calibri" panose="020F0502020204030204" pitchFamily="34" charset="0"/>
              </a:rPr>
              <a:t>Sikadur-Combiflex® SG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3561733" y="1366269"/>
            <a:ext cx="198468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0" u="none" strike="noStrike" baseline="0" dirty="0">
                <a:latin typeface="Calibri" panose="020F0502020204030204" pitchFamily="34" charset="0"/>
              </a:rPr>
              <a:t>SikaProof® A+ System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F325144-0920-4C28-B175-22E182C0E139}"/>
              </a:ext>
            </a:extLst>
          </p:cNvPr>
          <p:cNvCxnSpPr/>
          <p:nvPr/>
        </p:nvCxnSpPr>
        <p:spPr>
          <a:xfrm>
            <a:off x="3499741" y="1366269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1617313" y="3378537"/>
            <a:ext cx="1678258" cy="3220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b="0" i="0" u="none" strike="noStrike" baseline="0">
                <a:latin typeface="Calibri" panose="020F0502020204030204" pitchFamily="34" charset="0"/>
              </a:rPr>
              <a:t>Sistema de sellado de juntas de alto rendimiento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MPERMEABILIZACIÓN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3721662" y="3318264"/>
            <a:ext cx="1678258" cy="651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mbrana de FPO para impermeabilización bajo rasante pre y post-aplicada completamente adherida</a:t>
            </a:r>
            <a:endParaRPr lang="es-ES" sz="1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58D11DF-8BF5-4555-A8BE-C65DF9D11B9D}"/>
              </a:ext>
            </a:extLst>
          </p:cNvPr>
          <p:cNvSpPr txBox="1"/>
          <p:nvPr/>
        </p:nvSpPr>
        <p:spPr>
          <a:xfrm>
            <a:off x="5779728" y="3353177"/>
            <a:ext cx="1678258" cy="81599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a de impermeabilización a base de membranas de FPO completamente adheridas y </a:t>
            </a:r>
            <a:r>
              <a:rPr lang="es-ES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st-aplicadas</a:t>
            </a: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ra estructuras enterradas</a:t>
            </a:r>
            <a:endParaRPr lang="es-E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6" name="Content Placeholder 7">
            <a:extLst>
              <a:ext uri="{FF2B5EF4-FFF2-40B4-BE49-F238E27FC236}">
                <a16:creationId xmlns:a16="http://schemas.microsoft.com/office/drawing/2014/main" id="{0E29B963-F830-446A-B2C0-681D351380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5" b="755"/>
          <a:stretch/>
        </p:blipFill>
        <p:spPr>
          <a:xfrm>
            <a:off x="1454378" y="1857126"/>
            <a:ext cx="1860532" cy="1404776"/>
          </a:xfrm>
          <a:prstGeom prst="rect">
            <a:avLst/>
          </a:prstGeom>
        </p:spPr>
      </p:pic>
      <p:pic>
        <p:nvPicPr>
          <p:cNvPr id="108" name="Content Placeholder 7">
            <a:extLst>
              <a:ext uri="{FF2B5EF4-FFF2-40B4-BE49-F238E27FC236}">
                <a16:creationId xmlns:a16="http://schemas.microsoft.com/office/drawing/2014/main" id="{6F5BE68D-4A64-416A-BC4A-77425D374F3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462" b="89538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78" b="578"/>
          <a:stretch/>
        </p:blipFill>
        <p:spPr>
          <a:xfrm>
            <a:off x="3658750" y="1800403"/>
            <a:ext cx="1855824" cy="1401226"/>
          </a:xfrm>
          <a:prstGeom prst="rect">
            <a:avLst/>
          </a:prstGeom>
        </p:spPr>
      </p:pic>
      <p:pic>
        <p:nvPicPr>
          <p:cNvPr id="109" name="Content Placeholder 7">
            <a:extLst>
              <a:ext uri="{FF2B5EF4-FFF2-40B4-BE49-F238E27FC236}">
                <a16:creationId xmlns:a16="http://schemas.microsoft.com/office/drawing/2014/main" id="{4CF713F9-618F-46E0-BBA5-8C15CB461D3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462" b="89538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78" b="578"/>
          <a:stretch/>
        </p:blipFill>
        <p:spPr>
          <a:xfrm>
            <a:off x="5687788" y="1800403"/>
            <a:ext cx="1855824" cy="140122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1399019" y="4142772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4_6_SG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3601037" y="4142772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2_2_1_A+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596D989-D6E9-2D7D-441B-79C05215E694}"/>
              </a:ext>
            </a:extLst>
          </p:cNvPr>
          <p:cNvSpPr txBox="1"/>
          <p:nvPr/>
        </p:nvSpPr>
        <p:spPr>
          <a:xfrm>
            <a:off x="5630075" y="4148387"/>
            <a:ext cx="197125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2_2_1_P_1201</a:t>
            </a:r>
            <a:r>
              <a:rPr lang="es-ES" sz="1300" b="1" dirty="0"/>
              <a:t> 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F273B9E-55A5-0DCC-5724-7238BC743745}"/>
              </a:ext>
            </a:extLst>
          </p:cNvPr>
          <p:cNvSpPr txBox="1"/>
          <p:nvPr/>
        </p:nvSpPr>
        <p:spPr>
          <a:xfrm>
            <a:off x="8254440" y="641434"/>
            <a:ext cx="6387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8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3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3A9EE8E-EBC8-40E8-A7C4-EB5621D3DABC}"/>
              </a:ext>
            </a:extLst>
          </p:cNvPr>
          <p:cNvSpPr/>
          <p:nvPr/>
        </p:nvSpPr>
        <p:spPr>
          <a:xfrm>
            <a:off x="5694957" y="1374007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i="0" u="none" strike="noStrike" baseline="0" dirty="0">
                <a:latin typeface="Calibri" panose="020F0502020204030204" pitchFamily="34" charset="0"/>
              </a:rPr>
              <a:t>SikaProof® P-1201 System</a:t>
            </a:r>
            <a:endParaRPr lang="en-US" sz="800" b="1" dirty="0">
              <a:solidFill>
                <a:schemeClr val="bg1"/>
              </a:solidFill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AD0081B-8449-462A-B4F5-2FA7BEF44EF7}"/>
              </a:ext>
            </a:extLst>
          </p:cNvPr>
          <p:cNvCxnSpPr/>
          <p:nvPr/>
        </p:nvCxnSpPr>
        <p:spPr>
          <a:xfrm>
            <a:off x="5617100" y="1375054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7050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E3648-8753-4528-81B2-38C8DA48DA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521" y="224461"/>
            <a:ext cx="8604956" cy="378098"/>
          </a:xfrm>
        </p:spPr>
        <p:txBody>
          <a:bodyPr/>
          <a:lstStyle/>
          <a:p>
            <a:r>
              <a:rPr lang="en-US" sz="2400" dirty="0"/>
              <a:t>Catálogo objetos bim</a:t>
            </a:r>
            <a:endParaRPr lang="de-CH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700072D-455F-4E99-810C-E17DD49CC238}"/>
              </a:ext>
            </a:extLst>
          </p:cNvPr>
          <p:cNvSpPr txBox="1">
            <a:spLocks/>
          </p:cNvSpPr>
          <p:nvPr/>
        </p:nvSpPr>
        <p:spPr>
          <a:xfrm>
            <a:off x="250639" y="2678318"/>
            <a:ext cx="8605837" cy="1349375"/>
          </a:xfrm>
          <a:prstGeom prst="rect">
            <a:avLst/>
          </a:prstGeom>
        </p:spPr>
        <p:txBody>
          <a:bodyPr rtlCol="0"/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>
              <a:ea typeface="ＭＳ Ｐゴシック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49B1DB3-ABE2-41EB-2AAD-57F4844462A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4738" y="880229"/>
            <a:ext cx="5326072" cy="399455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2A55244-6BBD-3CC0-ACDF-47D4610B081F}"/>
              </a:ext>
            </a:extLst>
          </p:cNvPr>
          <p:cNvSpPr txBox="1"/>
          <p:nvPr/>
        </p:nvSpPr>
        <p:spPr>
          <a:xfrm>
            <a:off x="176679" y="468793"/>
            <a:ext cx="8623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2400" dirty="0"/>
              <a:t>SIKA S.A.U. ESPAÑ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201A4C-4FF8-B1E9-4152-31100A6505D0}"/>
              </a:ext>
            </a:extLst>
          </p:cNvPr>
          <p:cNvSpPr txBox="1"/>
          <p:nvPr/>
        </p:nvSpPr>
        <p:spPr>
          <a:xfrm>
            <a:off x="5912662" y="880229"/>
            <a:ext cx="28585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Para cualquier duda o aclaración puede contactar con: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1"/>
              <a:t>digitalizacion@es.sika.co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Dpto. Técnico - Digitalizació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MADRID - 28108 Alcobendas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Calle Aragoneses 17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Tel. </a:t>
            </a:r>
            <a:r>
              <a:rPr lang="es-ES" sz="1400">
                <a:solidFill>
                  <a:srgbClr val="000000"/>
                </a:solidFill>
                <a:latin typeface="Klavika Light"/>
              </a:rPr>
              <a:t>916 57 23 75</a:t>
            </a:r>
            <a:endParaRPr lang="es-ES" sz="1400"/>
          </a:p>
        </p:txBody>
      </p:sp>
    </p:spTree>
    <p:extLst>
      <p:ext uri="{BB962C8B-B14F-4D97-AF65-F5344CB8AC3E}">
        <p14:creationId xmlns:p14="http://schemas.microsoft.com/office/powerpoint/2010/main" val="7716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22003&quot;&gt;&lt;object type=&quot;3&quot; unique_id=&quot;22004&quot;&gt;&lt;property id=&quot;20148&quot; value=&quot;5&quot;/&gt;&lt;property id=&quot;20300&quot; value=&quot;Slide 1&quot;/&gt;&lt;property id=&quot;20307&quot; value=&quot;282&quot;/&gt;&lt;/object&gt;&lt;object type=&quot;3&quot; unique_id=&quot;22005&quot;&gt;&lt;property id=&quot;20148&quot; value=&quot;5&quot;/&gt;&lt;property id=&quot;20300&quot; value=&quot;Slide 2&quot;/&gt;&lt;property id=&quot;20307&quot; value=&quot;303&quot;/&gt;&lt;/object&gt;&lt;object type=&quot;3&quot; unique_id=&quot;22006&quot;&gt;&lt;property id=&quot;20148&quot; value=&quot;5&quot;/&gt;&lt;property id=&quot;20300&quot; value=&quot;Slide 3&quot;/&gt;&lt;property id=&quot;20307&quot; value=&quot;283&quot;/&gt;&lt;/object&gt;&lt;object type=&quot;3&quot; unique_id=&quot;22007&quot;&gt;&lt;property id=&quot;20148&quot; value=&quot;5&quot;/&gt;&lt;property id=&quot;20300&quot; value=&quot;Slide 4&quot;/&gt;&lt;property id=&quot;20307&quot; value=&quot;304&quot;/&gt;&lt;/object&gt;&lt;object type=&quot;3&quot; unique_id=&quot;22008&quot;&gt;&lt;property id=&quot;20148&quot; value=&quot;5&quot;/&gt;&lt;property id=&quot;20300&quot; value=&quot;Slide 5&quot;/&gt;&lt;property id=&quot;20307&quot; value=&quot;284&quot;/&gt;&lt;/object&gt;&lt;object type=&quot;3&quot; unique_id=&quot;22009&quot;&gt;&lt;property id=&quot;20148&quot; value=&quot;5&quot;/&gt;&lt;property id=&quot;20300&quot; value=&quot;Slide 6&quot;/&gt;&lt;property id=&quot;20307&quot; value=&quot;305&quot;/&gt;&lt;/object&gt;&lt;object type=&quot;3&quot; unique_id=&quot;22010&quot;&gt;&lt;property id=&quot;20148&quot; value=&quot;5&quot;/&gt;&lt;property id=&quot;20300&quot; value=&quot;Slide 7 - &amp;quot;Table of contents&amp;quot;&quot;/&gt;&lt;property id=&quot;20307&quot; value=&quot;259&quot;/&gt;&lt;/object&gt;&lt;object type=&quot;3&quot; unique_id=&quot;22011&quot;&gt;&lt;property id=&quot;20148&quot; value=&quot;5&quot;/&gt;&lt;property id=&quot;20300&quot; value=&quot;Slide 8 - &amp;quot;Design GRID&amp;quot;&quot;/&gt;&lt;property id=&quot;20307&quot; value=&quot;310&quot;/&gt;&lt;/object&gt;&lt;object type=&quot;3&quot; unique_id=&quot;22012&quot;&gt;&lt;property id=&quot;20148&quot; value=&quot;5&quot;/&gt;&lt;property id=&quot;20300&quot; value=&quot;Slide 9 - &amp;quot;Basic elements - colors&amp;quot;&quot;/&gt;&lt;property id=&quot;20307&quot; value=&quot;261&quot;/&gt;&lt;/object&gt;&lt;object type=&quot;3&quot; unique_id=&quot;22013&quot;&gt;&lt;property id=&quot;20148&quot; value=&quot;5&quot;/&gt;&lt;property id=&quot;20300&quot; value=&quot;Slide 10 - &amp;quot;Basic elements - lines, arrows and shapes&amp;quot;&quot;/&gt;&lt;property id=&quot;20307&quot; value=&quot;262&quot;/&gt;&lt;/object&gt;&lt;object type=&quot;3&quot; unique_id=&quot;22014&quot;&gt;&lt;property id=&quot;20148&quot; value=&quot;5&quot;/&gt;&lt;property id=&quot;20300&quot; value=&quot;Slide 11&quot;/&gt;&lt;property id=&quot;20307&quot; value=&quot;263&quot;/&gt;&lt;/object&gt;&lt;object type=&quot;3&quot; unique_id=&quot;22015&quot;&gt;&lt;property id=&quot;20148&quot; value=&quot;5&quot;/&gt;&lt;property id=&quot;20300&quot; value=&quot;Slide 12&quot;/&gt;&lt;property id=&quot;20307&quot; value=&quot;306&quot;/&gt;&lt;/object&gt;&lt;object type=&quot;3&quot; unique_id=&quot;22016&quot;&gt;&lt;property id=&quot;20148&quot; value=&quot;5&quot;/&gt;&lt;property id=&quot;20300&quot; value=&quot;Slide 13&quot;/&gt;&lt;property id=&quot;20307&quot; value=&quot;264&quot;/&gt;&lt;/object&gt;&lt;object type=&quot;3&quot; unique_id=&quot;22017&quot;&gt;&lt;property id=&quot;20148&quot; value=&quot;5&quot;/&gt;&lt;property id=&quot;20300&quot; value=&quot;Slide 14 - &amp;quot;Example - headline (24pt)&amp;quot;&quot;/&gt;&lt;property id=&quot;20307&quot; value=&quot;265&quot;/&gt;&lt;/object&gt;&lt;object type=&quot;3&quot; unique_id=&quot;22018&quot;&gt;&lt;property id=&quot;20148&quot; value=&quot;5&quot;/&gt;&lt;property id=&quot;20300&quot; value=&quot;Slide 15 - &amp;quot;example - listing (one text field)&amp;quot;&quot;/&gt;&lt;property id=&quot;20307&quot; value=&quot;266&quot;/&gt;&lt;/object&gt;&lt;object type=&quot;3&quot; unique_id=&quot;22019&quot;&gt;&lt;property id=&quot;20148&quot; value=&quot;5&quot;/&gt;&lt;property id=&quot;20300&quot; value=&quot;Slide 16 - &amp;quot;Example - listing (two text fields)&amp;quot;&quot;/&gt;&lt;property id=&quot;20307&quot; value=&quot;312&quot;/&gt;&lt;/object&gt;&lt;object type=&quot;3&quot; unique_id=&quot;22020&quot;&gt;&lt;property id=&quot;20148&quot; value=&quot;5&quot;/&gt;&lt;property id=&quot;20300&quot; value=&quot;Slide 17 - &amp;quot;Example - (two text fields with pictures)&amp;quot;&quot;/&gt;&lt;property id=&quot;20307&quot; value=&quot;313&quot;/&gt;&lt;/object&gt;&lt;object type=&quot;3&quot; unique_id=&quot;22021&quot;&gt;&lt;property id=&quot;20148&quot; value=&quot;5&quot;/&gt;&lt;property id=&quot;20300&quot; value=&quot;Slide 18 - &amp;quot;Example - table on white background&amp;quot;&quot;/&gt;&lt;property id=&quot;20307&quot; value=&quot;269&quot;/&gt;&lt;/object&gt;&lt;object type=&quot;3&quot; unique_id=&quot;22022&quot;&gt;&lt;property id=&quot;20148&quot; value=&quot;5&quot;/&gt;&lt;property id=&quot;20300&quot; value=&quot;Slide 19 - &amp;quot;Example - line diagram&amp;quot;&quot;/&gt;&lt;property id=&quot;20307&quot; value=&quot;292&quot;/&gt;&lt;/object&gt;&lt;object type=&quot;3&quot; unique_id=&quot;22023&quot;&gt;&lt;property id=&quot;20148&quot; value=&quot;5&quot;/&gt;&lt;property id=&quot;20300&quot; value=&quot;Slide 20 - &amp;quot;Example - column diagram (grouped)&amp;quot;&quot;/&gt;&lt;property id=&quot;20307&quot; value=&quot;293&quot;/&gt;&lt;/object&gt;&lt;object type=&quot;3&quot; unique_id=&quot;22024&quot;&gt;&lt;property id=&quot;20148&quot; value=&quot;5&quot;/&gt;&lt;property id=&quot;20300&quot; value=&quot;Slide 21 - &amp;quot;Example - column diagram (stacked)&amp;quot;&quot;/&gt;&lt;property id=&quot;20307&quot; value=&quot;294&quot;/&gt;&lt;/object&gt;&lt;object type=&quot;3&quot; unique_id=&quot;22025&quot;&gt;&lt;property id=&quot;20148&quot; value=&quot;5&quot;/&gt;&lt;property id=&quot;20300&quot; value=&quot;Slide 22 - &amp;quot;Example - bar diagram&amp;quot;&quot;/&gt;&lt;property id=&quot;20307&quot; value=&quot;295&quot;/&gt;&lt;/object&gt;&lt;object type=&quot;3&quot; unique_id=&quot;22026&quot;&gt;&lt;property id=&quot;20148&quot; value=&quot;5&quot;/&gt;&lt;property id=&quot;20300&quot; value=&quot;Slide 23 - &amp;quot;Example - bar diagram (stacked)&amp;quot;&quot;/&gt;&lt;property id=&quot;20307&quot; value=&quot;296&quot;/&gt;&lt;/object&gt;&lt;object type=&quot;3&quot; unique_id=&quot;22027&quot;&gt;&lt;property id=&quot;20148&quot; value=&quot;5&quot;/&gt;&lt;property id=&quot;20300&quot; value=&quot;Slide 24 - &amp;quot;Example - circle diagrams&amp;quot;&quot;/&gt;&lt;property id=&quot;20307&quot; value=&quot;297&quot;/&gt;&lt;/object&gt;&lt;object type=&quot;3&quot; unique_id=&quot;22028&quot;&gt;&lt;property id=&quot;20148&quot; value=&quot;5&quot;/&gt;&lt;property id=&quot;20300&quot; value=&quot;Slide 25 - &amp;quot;Example - circle diagrams&amp;quot;&quot;/&gt;&lt;property id=&quot;20307&quot; value=&quot;298&quot;/&gt;&lt;/object&gt;&lt;object type=&quot;3&quot; unique_id=&quot;22029&quot;&gt;&lt;property id=&quot;20148&quot; value=&quot;5&quot;/&gt;&lt;property id=&quot;20300&quot; value=&quot;Slide 26 - &amp;quot;Example - pie diagram&amp;quot;&quot;/&gt;&lt;property id=&quot;20307&quot; value=&quot;299&quot;/&gt;&lt;/object&gt;&lt;object type=&quot;3&quot; unique_id=&quot;22030&quot;&gt;&lt;property id=&quot;20148&quot; value=&quot;5&quot;/&gt;&lt;property id=&quot;20300&quot; value=&quot;Slide 27 - &amp;quot;Example - organizational diagram&amp;quot;&quot;/&gt;&lt;property id=&quot;20307&quot; value=&quot;300&quot;/&gt;&lt;/object&gt;&lt;object type=&quot;3&quot; unique_id=&quot;22031&quot;&gt;&lt;property id=&quot;20148&quot; value=&quot;5&quot;/&gt;&lt;property id=&quot;20300&quot; value=&quot;Slide 28 - &amp;quot;Example - organizational diagram&amp;quot;&quot;/&gt;&lt;property id=&quot;20307&quot; value=&quot;301&quot;/&gt;&lt;/object&gt;&lt;object type=&quot;3&quot; unique_id=&quot;22032&quot;&gt;&lt;property id=&quot;20148&quot; value=&quot;5&quot;/&gt;&lt;property id=&quot;20300&quot; value=&quot;Slide 29 - &amp;quot;Example - timeline or flowchart&amp;quot;&quot;/&gt;&lt;property id=&quot;20307&quot; value=&quot;302&quot;/&gt;&lt;/object&gt;&lt;object type=&quot;3&quot; unique_id=&quot;22033&quot;&gt;&lt;property id=&quot;20148&quot; value=&quot;5&quot;/&gt;&lt;property id=&quot;20300&quot; value=&quot;Slide 30 - &amp;quot;Example - 1 picture with text&amp;quot;&quot;/&gt;&lt;property id=&quot;20307&quot; value=&quot;286&quot;/&gt;&lt;/object&gt;&lt;object type=&quot;3&quot; unique_id=&quot;22034&quot;&gt;&lt;property id=&quot;20148&quot; value=&quot;5&quot;/&gt;&lt;property id=&quot;20300&quot; value=&quot;Slide 31 - &amp;quot;Example - 1 picture&amp;quot;&quot;/&gt;&lt;property id=&quot;20307&quot; value=&quot;272&quot;/&gt;&lt;/object&gt;&lt;object type=&quot;3&quot; unique_id=&quot;22035&quot;&gt;&lt;property id=&quot;20148&quot; value=&quot;5&quot;/&gt;&lt;property id=&quot;20300&quot; value=&quot;Slide 32 - &amp;quot;Example - 1 picture on yellow background&amp;quot;&quot;/&gt;&lt;property id=&quot;20307&quot; value=&quot;307&quot;/&gt;&lt;/object&gt;&lt;object type=&quot;3&quot; unique_id=&quot;22036&quot;&gt;&lt;property id=&quot;20148&quot; value=&quot;5&quot;/&gt;&lt;property id=&quot;20300&quot; value=&quot;Slide 33 - &amp;quot;Example - 1 picture on industry &amp;amp; automotive background&amp;quot;&quot;/&gt;&lt;property id=&quot;20307&quot; value=&quot;308&quot;/&gt;&lt;/object&gt;&lt;object type=&quot;3&quot; unique_id=&quot;22037&quot;&gt;&lt;property id=&quot;20148&quot; value=&quot;5&quot;/&gt;&lt;property id=&quot;20300&quot; value=&quot;Slide 34 - &amp;quot;Example - full format picture&amp;quot;&quot;/&gt;&lt;property id=&quot;20307&quot; value=&quot;280&quot;/&gt;&lt;/object&gt;&lt;object type=&quot;3&quot; unique_id=&quot;22038&quot;&gt;&lt;property id=&quot;20148&quot; value=&quot;5&quot;/&gt;&lt;property id=&quot;20300&quot; value=&quot;Slide 35 - &amp;quot;Example - 4 pictures with text&amp;quot;&quot;/&gt;&lt;property id=&quot;20307&quot; value=&quot;285&quot;/&gt;&lt;/object&gt;&lt;object type=&quot;3&quot; unique_id=&quot;22039&quot;&gt;&lt;property id=&quot;20148&quot; value=&quot;5&quot;/&gt;&lt;property id=&quot;20300&quot; value=&quot;Slide 36 - &amp;quot;Example - 2 pictures with text&amp;quot;&quot;/&gt;&lt;property id=&quot;20307&quot; value=&quot;287&quot;/&gt;&lt;/object&gt;&lt;object type=&quot;3&quot; unique_id=&quot;22040&quot;&gt;&lt;property id=&quot;20148&quot; value=&quot;5&quot;/&gt;&lt;property id=&quot;20300&quot; value=&quot;Slide 37 - &amp;quot;Example - 4 pictures&amp;quot;&quot;/&gt;&lt;property id=&quot;20307&quot; value=&quot;288&quot;/&gt;&lt;/object&gt;&lt;object type=&quot;3&quot; unique_id=&quot;22041&quot;&gt;&lt;property id=&quot;20148&quot; value=&quot;5&quot;/&gt;&lt;property id=&quot;20300&quot; value=&quot;Slide 38&quot;/&gt;&lt;property id=&quot;20307&quot; value=&quot;278&quot;/&gt;&lt;/object&gt;&lt;object type=&quot;3&quot; unique_id=&quot;22042&quot;&gt;&lt;property id=&quot;20148&quot; value=&quot;5&quot;/&gt;&lt;property id=&quot;20300&quot; value=&quot;Slide 39&quot;/&gt;&lt;property id=&quot;20307&quot; value=&quot;309&quot;/&gt;&lt;/object&gt;&lt;/object&gt;&lt;object type=&quot;8&quot; unique_id=&quot;22083&quot;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Sik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B325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.potx" id="{5B1B824C-E867-4AF7-99BD-F6038748ECB4}" vid="{5F3F09C4-FA1D-4261-BB17-3D323845730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8461ba-9212-4fd6-9292-53d75bec027b">
      <Terms xmlns="http://schemas.microsoft.com/office/infopath/2007/PartnerControls"/>
    </lcf76f155ced4ddcb4097134ff3c332f>
    <TaxCatchAll xmlns="6b2842d7-2c11-4649-9224-3f06aacd2a6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B0364C6707847913B4CB678D3A6FA" ma:contentTypeVersion="10" ma:contentTypeDescription="Create a new document." ma:contentTypeScope="" ma:versionID="53bf3dded6ff0c02aa585059f109b0e2">
  <xsd:schema xmlns:xsd="http://www.w3.org/2001/XMLSchema" xmlns:xs="http://www.w3.org/2001/XMLSchema" xmlns:p="http://schemas.microsoft.com/office/2006/metadata/properties" xmlns:ns2="218461ba-9212-4fd6-9292-53d75bec027b" xmlns:ns3="6b2842d7-2c11-4649-9224-3f06aacd2a6e" targetNamespace="http://schemas.microsoft.com/office/2006/metadata/properties" ma:root="true" ma:fieldsID="255b43c3fbb0503bdd40730785d6db2e" ns2:_="" ns3:_="">
    <xsd:import namespace="218461ba-9212-4fd6-9292-53d75bec027b"/>
    <xsd:import namespace="6b2842d7-2c11-4649-9224-3f06aacd2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461ba-9212-4fd6-9292-53d75bec02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3faffa6-f046-41e0-b0b2-30891ad695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842d7-2c11-4649-9224-3f06aacd2a6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c076eda-9da5-44ae-8c84-f376a3b500ee}" ma:internalName="TaxCatchAll" ma:showField="CatchAllData" ma:web="6b2842d7-2c11-4649-9224-3f06aacd2a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9294BE-8A62-4DAB-88E8-57A4929F4EE5}">
  <ds:schemaRefs>
    <ds:schemaRef ds:uri="6b2842d7-2c11-4649-9224-3f06aacd2a6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18461ba-9212-4fd6-9292-53d75bec027b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8FEAF15-633F-4137-BEC2-8EBFE2E169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8461ba-9212-4fd6-9292-53d75bec027b"/>
    <ds:schemaRef ds:uri="6b2842d7-2c11-4649-9224-3f06aacd2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1ABBF6-6BB6-487E-867C-862C720BD2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ka Powerpoint Template</Template>
  <TotalTime>359</TotalTime>
  <Words>228</Words>
  <Application>Microsoft Office PowerPoint</Application>
  <PresentationFormat>Presentación en pantalla (16:9)</PresentationFormat>
  <Paragraphs>30</Paragraphs>
  <Slides>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0" baseType="lpstr">
      <vt:lpstr>Arial</vt:lpstr>
      <vt:lpstr>Calibri</vt:lpstr>
      <vt:lpstr>Klavika Light</vt:lpstr>
      <vt:lpstr>Wingdings</vt:lpstr>
      <vt:lpstr>Sika PowerPoint Template 16.9 0614</vt:lpstr>
      <vt:lpstr>think-cell Slide</vt:lpstr>
      <vt:lpstr>Presentación de PowerPoint</vt:lpstr>
      <vt:lpstr>ÍNDICE</vt:lpstr>
      <vt:lpstr>Catálogo objetos bim sika s.a.u. españa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Aeschbach</dc:creator>
  <cp:lastModifiedBy>Mauricio Pena</cp:lastModifiedBy>
  <cp:revision>8</cp:revision>
  <dcterms:created xsi:type="dcterms:W3CDTF">2023-02-09T09:38:26Z</dcterms:created>
  <dcterms:modified xsi:type="dcterms:W3CDTF">2024-02-19T12:5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0364C6707847913B4CB678D3A6FA</vt:lpwstr>
  </property>
  <property fmtid="{D5CDD505-2E9C-101B-9397-08002B2CF9AE}" pid="3" name="MediaServiceImageTags">
    <vt:lpwstr/>
  </property>
</Properties>
</file>